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812" r:id="rId2"/>
    <p:sldMasterId id="2147483841" r:id="rId3"/>
  </p:sldMasterIdLst>
  <p:notesMasterIdLst>
    <p:notesMasterId r:id="rId22"/>
  </p:notesMasterIdLst>
  <p:sldIdLst>
    <p:sldId id="257" r:id="rId4"/>
    <p:sldId id="348" r:id="rId5"/>
    <p:sldId id="344" r:id="rId6"/>
    <p:sldId id="258" r:id="rId7"/>
    <p:sldId id="259" r:id="rId8"/>
    <p:sldId id="260" r:id="rId9"/>
    <p:sldId id="346" r:id="rId10"/>
    <p:sldId id="263" r:id="rId11"/>
    <p:sldId id="307" r:id="rId12"/>
    <p:sldId id="334" r:id="rId13"/>
    <p:sldId id="266" r:id="rId14"/>
    <p:sldId id="347" r:id="rId15"/>
    <p:sldId id="336" r:id="rId16"/>
    <p:sldId id="335" r:id="rId17"/>
    <p:sldId id="264" r:id="rId18"/>
    <p:sldId id="300" r:id="rId19"/>
    <p:sldId id="298" r:id="rId20"/>
    <p:sldId id="330" r:id="rId21"/>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120" autoAdjust="0"/>
  </p:normalViewPr>
  <p:slideViewPr>
    <p:cSldViewPr>
      <p:cViewPr varScale="1">
        <p:scale>
          <a:sx n="146" d="100"/>
          <a:sy n="146" d="100"/>
        </p:scale>
        <p:origin x="-104" y="-760"/>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1" d="100"/>
          <a:sy n="81" d="100"/>
        </p:scale>
        <p:origin x="-3000"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notesMaster" Target="notesMasters/notesMaster1.xml"/><Relationship Id="rId23" Type="http://schemas.openxmlformats.org/officeDocument/2006/relationships/printerSettings" Target="printerSettings/printerSettings1.bin"/><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5C5BC60-FC0A-44A0-BFFC-74CC0D17D924}" type="datetimeFigureOut">
              <a:rPr lang="zh-CN" altLang="en-US" smtClean="0"/>
              <a:pPr/>
              <a:t>19/10/1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77E56DA-6FEE-4A97-A651-3DA1B474B308}" type="slidenum">
              <a:rPr lang="zh-CN" altLang="en-US" smtClean="0"/>
              <a:pPr/>
              <a:t>‹#›</a:t>
            </a:fld>
            <a:endParaRPr lang="zh-CN" altLang="en-US"/>
          </a:p>
        </p:txBody>
      </p:sp>
    </p:spTree>
    <p:extLst>
      <p:ext uri="{BB962C8B-B14F-4D97-AF65-F5344CB8AC3E}">
        <p14:creationId xmlns:p14="http://schemas.microsoft.com/office/powerpoint/2010/main" val="1286029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56DA-6FEE-4A97-A651-3DA1B474B308}" type="slidenum">
              <a:rPr lang="zh-CN" altLang="en-US" smtClean="0"/>
              <a:pPr/>
              <a:t>5</a:t>
            </a:fld>
            <a:endParaRPr lang="zh-CN" altLang="en-US"/>
          </a:p>
        </p:txBody>
      </p:sp>
    </p:spTree>
    <p:extLst>
      <p:ext uri="{BB962C8B-B14F-4D97-AF65-F5344CB8AC3E}">
        <p14:creationId xmlns:p14="http://schemas.microsoft.com/office/powerpoint/2010/main" val="3658631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3"/>
          <p:cNvSpPr>
            <a:spLocks noGrp="1" noChangeArrowheads="1"/>
          </p:cNvSpPr>
          <p:nvPr>
            <p:ph type="sldNum"/>
          </p:nvPr>
        </p:nvSpPr>
        <p:spPr>
          <a:ln/>
        </p:spPr>
        <p:txBody>
          <a:bodyPr/>
          <a:lstStyle/>
          <a:p>
            <a:fld id="{DA287120-EA89-E441-96FC-7545023A4A16}" type="slidenum">
              <a:rPr lang="en-US"/>
              <a:pPr/>
              <a:t>8</a:t>
            </a:fld>
            <a:endParaRPr lang="en-US"/>
          </a:p>
        </p:txBody>
      </p:sp>
      <p:sp>
        <p:nvSpPr>
          <p:cNvPr id="74754" name="Rectangle 2"/>
          <p:cNvSpPr>
            <a:spLocks noGrp="1" noRot="1" noChangeAspect="1" noChangeArrowheads="1" noTextEdit="1"/>
          </p:cNvSpPr>
          <p:nvPr>
            <p:ph type="sldImg"/>
          </p:nvPr>
        </p:nvSpPr>
        <p:spPr>
          <a:xfrm>
            <a:off x="381000" y="685800"/>
            <a:ext cx="6096000" cy="3429000"/>
          </a:xfrm>
          <a:ln/>
        </p:spPr>
      </p:sp>
      <p:sp>
        <p:nvSpPr>
          <p:cNvPr id="74755" name="Rectangle 3"/>
          <p:cNvSpPr>
            <a:spLocks noGrp="1" noChangeArrowheads="1"/>
          </p:cNvSpPr>
          <p:nvPr>
            <p:ph type="body" idx="1"/>
          </p:nvPr>
        </p:nvSpPr>
        <p:spPr>
          <a:xfrm>
            <a:off x="912813" y="4343400"/>
            <a:ext cx="5032375" cy="4114800"/>
          </a:xfrm>
        </p:spPr>
        <p:txBody>
          <a:bodyPr/>
          <a:lstStyle/>
          <a:p>
            <a:pPr defTabSz="914400"/>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a:ln/>
        </p:spPr>
      </p:sp>
      <p:sp>
        <p:nvSpPr>
          <p:cNvPr id="14338" name="Notes Placeholder 2"/>
          <p:cNvSpPr>
            <a:spLocks noGrp="1"/>
          </p:cNvSpPr>
          <p:nvPr>
            <p:ph type="body" idx="1"/>
          </p:nvPr>
        </p:nvSpPr>
        <p:spPr>
          <a:noFill/>
          <a:extLst>
            <a:ext uri="{FAA26D3D-D897-4be2-8F04-BA451C77F1D7}">
              <ma14:placeholderFlag xmlns:ma14="http://schemas.microsoft.com/office/mac/drawingml/2011/main" val="1"/>
            </a:ext>
          </a:extLst>
        </p:spPr>
        <p:txBody>
          <a:bodyPr/>
          <a:lstStyle/>
          <a:p>
            <a:pPr eaLnBrk="1" hangingPunct="1"/>
            <a:endParaRPr lang="en-US"/>
          </a:p>
        </p:txBody>
      </p:sp>
      <p:sp>
        <p:nvSpPr>
          <p:cNvPr id="14339" name="Slide Number Placeholder 3"/>
          <p:cNvSpPr>
            <a:spLocks noGrp="1"/>
          </p:cNvSpPr>
          <p:nvPr>
            <p:ph type="sldNum" sz="quarter" idx="5"/>
          </p:nvPr>
        </p:nvSpPr>
        <p:spPr>
          <a:noFill/>
        </p:spPr>
        <p:txBody>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eaLnBrk="1" hangingPunct="1"/>
            <a:fld id="{035C012D-5AC6-7C42-9C3C-36B44B0E3BD2}" type="slidenum">
              <a:rPr lang="en-GB" sz="1200"/>
              <a:pPr eaLnBrk="1" hangingPunct="1"/>
              <a:t>9</a:t>
            </a:fld>
            <a:endParaRPr lang="en-GB"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13"/>
          <p:cNvSpPr>
            <a:spLocks noGrp="1" noChangeArrowheads="1"/>
          </p:cNvSpPr>
          <p:nvPr>
            <p:ph type="sldNum"/>
          </p:nvPr>
        </p:nvSpPr>
        <p:spPr>
          <a:ln/>
        </p:spPr>
        <p:txBody>
          <a:bodyPr/>
          <a:lstStyle/>
          <a:p>
            <a:fld id="{9A6ACE43-E19B-BA4E-B534-817B49CC0B85}" type="slidenum">
              <a:rPr lang="en-US"/>
              <a:pPr/>
              <a:t>17</a:t>
            </a:fld>
            <a:endParaRPr lang="en-US"/>
          </a:p>
        </p:txBody>
      </p:sp>
      <p:sp>
        <p:nvSpPr>
          <p:cNvPr id="146434" name="Text Box 2"/>
          <p:cNvSpPr txBox="1">
            <a:spLocks noGrp="1" noRot="1" noChangeAspect="1" noChangeArrowheads="1" noTextEdit="1"/>
          </p:cNvSpPr>
          <p:nvPr>
            <p:ph type="sldImg"/>
          </p:nvPr>
        </p:nvSpPr>
        <p:spPr>
          <a:xfrm>
            <a:off x="381000" y="685800"/>
            <a:ext cx="6096000" cy="3429000"/>
          </a:xfrm>
          <a:ln/>
        </p:spPr>
      </p:sp>
      <p:sp>
        <p:nvSpPr>
          <p:cNvPr id="146435" name="Text Box 3"/>
          <p:cNvSpPr txBox="1">
            <a:spLocks noGrp="1" noChangeArrowheads="1"/>
          </p:cNvSpPr>
          <p:nvPr>
            <p:ph type="body" idx="1"/>
          </p:nvPr>
        </p:nvSpPr>
        <p:spPr>
          <a:xfrm>
            <a:off x="914400" y="4343400"/>
            <a:ext cx="5029200" cy="4114800"/>
          </a:xfrm>
          <a:noFill/>
          <a:ln/>
          <a:extLst>
            <a:ext uri="{91240B29-F687-4f45-9708-019B960494DF}">
              <a14:hiddenLine xmlns:a14="http://schemas.microsoft.com/office/drawing/2010/main" w="9525" cap="flat">
                <a:solidFill>
                  <a:srgbClr val="808080"/>
                </a:solidFill>
                <a:round/>
                <a:headEnd/>
                <a:tailEnd/>
              </a14:hiddenLine>
            </a:ext>
          </a:extLst>
        </p:spPr>
        <p:txBody>
          <a:bodyPr wrap="none" anchor="ct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ing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
        <p:nvSpPr>
          <p:cNvPr id="5" name="Text Placeholder 4"/>
          <p:cNvSpPr>
            <a:spLocks noGrp="1"/>
          </p:cNvSpPr>
          <p:nvPr>
            <p:ph type="body" sz="quarter" idx="10"/>
          </p:nvPr>
        </p:nvSpPr>
        <p:spPr>
          <a:xfrm>
            <a:off x="381000" y="1047750"/>
            <a:ext cx="8382000" cy="3333750"/>
          </a:xfrm>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2902547413"/>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wo Image">
    <p:spTree>
      <p:nvGrpSpPr>
        <p:cNvPr id="1" name=""/>
        <p:cNvGrpSpPr/>
        <p:nvPr/>
      </p:nvGrpSpPr>
      <p:grpSpPr>
        <a:xfrm>
          <a:off x="0" y="0"/>
          <a:ext cx="0" cy="0"/>
          <a:chOff x="0" y="0"/>
          <a:chExt cx="0" cy="0"/>
        </a:xfrm>
      </p:grpSpPr>
      <p:sp>
        <p:nvSpPr>
          <p:cNvPr id="10" name="Rectangle 9"/>
          <p:cNvSpPr/>
          <p:nvPr userDrawn="1"/>
        </p:nvSpPr>
        <p:spPr>
          <a:xfrm>
            <a:off x="0" y="157453"/>
            <a:ext cx="9144000" cy="43542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ntent Placeholder 4"/>
          <p:cNvSpPr>
            <a:spLocks noGrp="1"/>
          </p:cNvSpPr>
          <p:nvPr>
            <p:ph sz="quarter" idx="10"/>
          </p:nvPr>
        </p:nvSpPr>
        <p:spPr>
          <a:xfrm>
            <a:off x="1714500" y="238125"/>
            <a:ext cx="3556000" cy="4164806"/>
          </a:xfrm>
        </p:spPr>
        <p:txBody>
          <a:bodyPr/>
          <a:lstStyle/>
          <a:p>
            <a:pPr lvl="0"/>
            <a:r>
              <a:rPr lang="zh-CN" altLang="en-US" smtClean="0"/>
              <a:t>单击此处编辑母版文本样式</a:t>
            </a:r>
          </a:p>
        </p:txBody>
      </p:sp>
      <p:sp>
        <p:nvSpPr>
          <p:cNvPr id="9" name="Text Placeholder 7"/>
          <p:cNvSpPr>
            <a:spLocks noGrp="1"/>
          </p:cNvSpPr>
          <p:nvPr>
            <p:ph type="body" sz="quarter" idx="12" hasCustomPrompt="1"/>
          </p:nvPr>
        </p:nvSpPr>
        <p:spPr>
          <a:xfrm>
            <a:off x="171967" y="238125"/>
            <a:ext cx="1470177" cy="533400"/>
          </a:xfrm>
        </p:spPr>
        <p:txBody>
          <a:bodyPr/>
          <a:lstStyle>
            <a:lvl1pPr>
              <a:buNone/>
              <a:defRPr sz="1050" cap="all">
                <a:solidFill>
                  <a:srgbClr val="569BBE"/>
                </a:solidFill>
              </a:defRPr>
            </a:lvl1pPr>
            <a:lvl2pPr>
              <a:buNone/>
              <a:defRPr/>
            </a:lvl2pPr>
            <a:lvl3pPr>
              <a:buNone/>
              <a:defRPr/>
            </a:lvl3pPr>
            <a:lvl4pPr>
              <a:buNone/>
              <a:defRPr/>
            </a:lvl4pPr>
            <a:lvl5pPr>
              <a:buNone/>
              <a:defRPr/>
            </a:lvl5pPr>
          </a:lstStyle>
          <a:p>
            <a:pPr lvl="0"/>
            <a:r>
              <a:rPr lang="en-US" dirty="0" smtClean="0"/>
              <a:t>HEADLINE</a:t>
            </a:r>
          </a:p>
          <a:p>
            <a:pPr lvl="0"/>
            <a:r>
              <a:rPr lang="en-US" dirty="0" smtClean="0"/>
              <a:t>GOES HERE</a:t>
            </a:r>
            <a:endParaRPr lang="en-US" dirty="0"/>
          </a:p>
        </p:txBody>
      </p:sp>
      <p:sp>
        <p:nvSpPr>
          <p:cNvPr id="8" name="Content Placeholder 4"/>
          <p:cNvSpPr>
            <a:spLocks noGrp="1"/>
          </p:cNvSpPr>
          <p:nvPr>
            <p:ph sz="quarter" idx="13"/>
          </p:nvPr>
        </p:nvSpPr>
        <p:spPr>
          <a:xfrm>
            <a:off x="5373714" y="238125"/>
            <a:ext cx="3556000" cy="4164806"/>
          </a:xfrm>
        </p:spPr>
        <p:txBody>
          <a:bodyPr/>
          <a:lstStyle/>
          <a:p>
            <a:pPr lvl="0"/>
            <a:r>
              <a:rPr lang="zh-CN" altLang="en-US" smtClean="0"/>
              <a:t>单击此处编辑母版文本样式</a:t>
            </a:r>
          </a:p>
        </p:txBody>
      </p:sp>
      <p:sp>
        <p:nvSpPr>
          <p:cNvPr id="11" name="Text Placeholder 10"/>
          <p:cNvSpPr>
            <a:spLocks noGrp="1"/>
          </p:cNvSpPr>
          <p:nvPr>
            <p:ph type="body" sz="quarter" idx="14" hasCustomPrompt="1"/>
          </p:nvPr>
        </p:nvSpPr>
        <p:spPr>
          <a:xfrm>
            <a:off x="190500" y="1428750"/>
            <a:ext cx="1397000" cy="2143125"/>
          </a:xfrm>
        </p:spPr>
        <p:txBody>
          <a:bodyPr/>
          <a:lstStyle>
            <a:lvl1pPr marL="0" indent="0">
              <a:buNone/>
              <a:defRPr sz="1100"/>
            </a:lvl1pPr>
            <a:lvl2pPr>
              <a:buNone/>
              <a:defRPr sz="1100"/>
            </a:lvl2pPr>
            <a:lvl3pPr>
              <a:buNone/>
              <a:defRPr sz="1100"/>
            </a:lvl3pPr>
            <a:lvl4pPr>
              <a:buNone/>
              <a:defRPr sz="1100"/>
            </a:lvl4pPr>
            <a:lvl5pPr>
              <a:buNone/>
              <a:defRPr sz="1100"/>
            </a:lvl5pPr>
          </a:lstStyle>
          <a:p>
            <a:pPr>
              <a:spcAft>
                <a:spcPts val="600"/>
              </a:spcAft>
            </a:pPr>
            <a:r>
              <a:rPr lang="en-US" sz="1100" dirty="0" smtClean="0">
                <a:solidFill>
                  <a:srgbClr val="374957"/>
                </a:solidFill>
              </a:rPr>
              <a:t>This is the copy that talks about the images that you see to the right of this copy block and it goes into great and interesting detail about it. </a:t>
            </a:r>
          </a:p>
          <a:p>
            <a:pPr>
              <a:spcAft>
                <a:spcPts val="600"/>
              </a:spcAft>
            </a:pPr>
            <a:r>
              <a:rPr lang="en-US" sz="1100" dirty="0" smtClean="0">
                <a:solidFill>
                  <a:srgbClr val="374957"/>
                </a:solidFill>
              </a:rPr>
              <a:t>This is the copy that talks about the images that you see to the right of this copy block and it goes into great and interesting detail about it. </a:t>
            </a:r>
          </a:p>
          <a:p>
            <a:pPr>
              <a:spcAft>
                <a:spcPts val="600"/>
              </a:spcAft>
            </a:pPr>
            <a:endParaRPr lang="en-US" sz="1100" dirty="0">
              <a:solidFill>
                <a:srgbClr val="374957"/>
              </a:solidFill>
            </a:endParaRPr>
          </a:p>
        </p:txBody>
      </p:sp>
    </p:spTree>
    <p:extLst>
      <p:ext uri="{BB962C8B-B14F-4D97-AF65-F5344CB8AC3E}">
        <p14:creationId xmlns:p14="http://schemas.microsoft.com/office/powerpoint/2010/main" val="3154211966"/>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Image">
    <p:spTree>
      <p:nvGrpSpPr>
        <p:cNvPr id="1" name=""/>
        <p:cNvGrpSpPr/>
        <p:nvPr/>
      </p:nvGrpSpPr>
      <p:grpSpPr>
        <a:xfrm>
          <a:off x="0" y="0"/>
          <a:ext cx="0" cy="0"/>
          <a:chOff x="0" y="0"/>
          <a:chExt cx="0" cy="0"/>
        </a:xfrm>
      </p:grpSpPr>
      <p:sp>
        <p:nvSpPr>
          <p:cNvPr id="10" name="Rectangle 9"/>
          <p:cNvSpPr/>
          <p:nvPr userDrawn="1"/>
        </p:nvSpPr>
        <p:spPr>
          <a:xfrm>
            <a:off x="0" y="0"/>
            <a:ext cx="9144000" cy="43542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ntent Placeholder 4"/>
          <p:cNvSpPr>
            <a:spLocks noGrp="1"/>
          </p:cNvSpPr>
          <p:nvPr>
            <p:ph sz="quarter" idx="10"/>
          </p:nvPr>
        </p:nvSpPr>
        <p:spPr>
          <a:xfrm>
            <a:off x="1714500" y="238125"/>
            <a:ext cx="3556000" cy="2000250"/>
          </a:xfrm>
        </p:spPr>
        <p:txBody>
          <a:bodyPr/>
          <a:lstStyle/>
          <a:p>
            <a:pPr lvl="0"/>
            <a:r>
              <a:rPr lang="zh-CN" altLang="en-US" smtClean="0"/>
              <a:t>单击此处编辑母版文本样式</a:t>
            </a:r>
          </a:p>
        </p:txBody>
      </p:sp>
      <p:sp>
        <p:nvSpPr>
          <p:cNvPr id="9" name="Text Placeholder 7"/>
          <p:cNvSpPr>
            <a:spLocks noGrp="1"/>
          </p:cNvSpPr>
          <p:nvPr>
            <p:ph type="body" sz="quarter" idx="12" hasCustomPrompt="1"/>
          </p:nvPr>
        </p:nvSpPr>
        <p:spPr>
          <a:xfrm>
            <a:off x="171967" y="238125"/>
            <a:ext cx="1470177" cy="533400"/>
          </a:xfrm>
        </p:spPr>
        <p:txBody>
          <a:bodyPr/>
          <a:lstStyle>
            <a:lvl1pPr>
              <a:buNone/>
              <a:defRPr sz="1050" cap="all">
                <a:solidFill>
                  <a:srgbClr val="569BBE"/>
                </a:solidFill>
              </a:defRPr>
            </a:lvl1pPr>
            <a:lvl2pPr>
              <a:buNone/>
              <a:defRPr/>
            </a:lvl2pPr>
            <a:lvl3pPr>
              <a:buNone/>
              <a:defRPr/>
            </a:lvl3pPr>
            <a:lvl4pPr>
              <a:buNone/>
              <a:defRPr/>
            </a:lvl4pPr>
            <a:lvl5pPr>
              <a:buNone/>
              <a:defRPr/>
            </a:lvl5pPr>
          </a:lstStyle>
          <a:p>
            <a:pPr lvl="0"/>
            <a:r>
              <a:rPr lang="en-US" dirty="0" smtClean="0"/>
              <a:t>HEADLINE</a:t>
            </a:r>
          </a:p>
          <a:p>
            <a:pPr lvl="0"/>
            <a:r>
              <a:rPr lang="en-US" dirty="0" smtClean="0"/>
              <a:t>GOES HERE</a:t>
            </a:r>
            <a:endParaRPr lang="en-US" dirty="0"/>
          </a:p>
        </p:txBody>
      </p:sp>
      <p:sp>
        <p:nvSpPr>
          <p:cNvPr id="8" name="Content Placeholder 4"/>
          <p:cNvSpPr>
            <a:spLocks noGrp="1"/>
          </p:cNvSpPr>
          <p:nvPr>
            <p:ph sz="quarter" idx="13"/>
          </p:nvPr>
        </p:nvSpPr>
        <p:spPr>
          <a:xfrm>
            <a:off x="5373714" y="238125"/>
            <a:ext cx="3556000" cy="2000250"/>
          </a:xfrm>
        </p:spPr>
        <p:txBody>
          <a:bodyPr/>
          <a:lstStyle/>
          <a:p>
            <a:pPr lvl="0"/>
            <a:r>
              <a:rPr lang="zh-CN" altLang="en-US" smtClean="0"/>
              <a:t>单击此处编辑母版文本样式</a:t>
            </a:r>
          </a:p>
        </p:txBody>
      </p:sp>
      <p:sp>
        <p:nvSpPr>
          <p:cNvPr id="11" name="Content Placeholder 4"/>
          <p:cNvSpPr>
            <a:spLocks noGrp="1"/>
          </p:cNvSpPr>
          <p:nvPr>
            <p:ph sz="quarter" idx="14"/>
          </p:nvPr>
        </p:nvSpPr>
        <p:spPr>
          <a:xfrm>
            <a:off x="1714500" y="2304404"/>
            <a:ext cx="3556000" cy="2000250"/>
          </a:xfrm>
        </p:spPr>
        <p:txBody>
          <a:bodyPr/>
          <a:lstStyle/>
          <a:p>
            <a:pPr lvl="0"/>
            <a:r>
              <a:rPr lang="zh-CN" altLang="en-US" smtClean="0"/>
              <a:t>单击此处编辑母版文本样式</a:t>
            </a:r>
          </a:p>
        </p:txBody>
      </p:sp>
      <p:sp>
        <p:nvSpPr>
          <p:cNvPr id="12" name="Content Placeholder 4"/>
          <p:cNvSpPr>
            <a:spLocks noGrp="1"/>
          </p:cNvSpPr>
          <p:nvPr>
            <p:ph sz="quarter" idx="15"/>
          </p:nvPr>
        </p:nvSpPr>
        <p:spPr>
          <a:xfrm>
            <a:off x="5373714" y="2304404"/>
            <a:ext cx="3556000" cy="2000250"/>
          </a:xfrm>
        </p:spPr>
        <p:txBody>
          <a:bodyPr/>
          <a:lstStyle/>
          <a:p>
            <a:pPr lvl="0"/>
            <a:r>
              <a:rPr lang="zh-CN" altLang="en-US" smtClean="0"/>
              <a:t>单击此处编辑母版文本样式</a:t>
            </a:r>
          </a:p>
        </p:txBody>
      </p:sp>
      <p:sp>
        <p:nvSpPr>
          <p:cNvPr id="14" name="Text Placeholder 13"/>
          <p:cNvSpPr>
            <a:spLocks noGrp="1"/>
          </p:cNvSpPr>
          <p:nvPr>
            <p:ph type="body" sz="quarter" idx="16" hasCustomPrompt="1"/>
          </p:nvPr>
        </p:nvSpPr>
        <p:spPr>
          <a:xfrm>
            <a:off x="190500" y="1428750"/>
            <a:ext cx="1397000" cy="2143125"/>
          </a:xfrm>
        </p:spPr>
        <p:txBody>
          <a:bodyPr/>
          <a:lstStyle>
            <a:lvl1pPr marL="0" indent="0">
              <a:buNone/>
              <a:defRPr sz="1100"/>
            </a:lvl1pPr>
            <a:lvl2pPr>
              <a:buNone/>
              <a:defRPr sz="1100"/>
            </a:lvl2pPr>
            <a:lvl3pPr>
              <a:buNone/>
              <a:defRPr sz="1100"/>
            </a:lvl3pPr>
            <a:lvl4pPr>
              <a:buNone/>
              <a:defRPr sz="1100"/>
            </a:lvl4pPr>
            <a:lvl5pPr>
              <a:buNone/>
              <a:defRPr sz="1100"/>
            </a:lvl5pPr>
          </a:lstStyle>
          <a:p>
            <a:pPr>
              <a:spcAft>
                <a:spcPts val="600"/>
              </a:spcAft>
            </a:pPr>
            <a:r>
              <a:rPr lang="en-US" sz="1100" dirty="0" smtClean="0">
                <a:solidFill>
                  <a:srgbClr val="374957"/>
                </a:solidFill>
              </a:rPr>
              <a:t>This is the copy that talks about the images that you see to the right of this copy block and it goes into great and interesting detail about it. </a:t>
            </a:r>
          </a:p>
          <a:p>
            <a:pPr>
              <a:spcAft>
                <a:spcPts val="600"/>
              </a:spcAft>
            </a:pPr>
            <a:r>
              <a:rPr lang="en-US" sz="1100" dirty="0" smtClean="0">
                <a:solidFill>
                  <a:srgbClr val="374957"/>
                </a:solidFill>
              </a:rPr>
              <a:t>This is the copy that talks about the images that you see to the right of this copy block and it goes into great and interesting detail about it. </a:t>
            </a:r>
          </a:p>
          <a:p>
            <a:pPr>
              <a:spcAft>
                <a:spcPts val="600"/>
              </a:spcAft>
            </a:pPr>
            <a:endParaRPr lang="en-US" sz="1100" dirty="0">
              <a:solidFill>
                <a:srgbClr val="374957"/>
              </a:solidFill>
            </a:endParaRPr>
          </a:p>
        </p:txBody>
      </p:sp>
    </p:spTree>
    <p:extLst>
      <p:ext uri="{BB962C8B-B14F-4D97-AF65-F5344CB8AC3E}">
        <p14:creationId xmlns:p14="http://schemas.microsoft.com/office/powerpoint/2010/main" val="1578173800"/>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Content Placeholder 3"/>
          <p:cNvSpPr>
            <a:spLocks noGrp="1"/>
          </p:cNvSpPr>
          <p:nvPr>
            <p:ph sz="quarter" idx="10"/>
          </p:nvPr>
        </p:nvSpPr>
        <p:spPr>
          <a:xfrm>
            <a:off x="222250" y="863342"/>
            <a:ext cx="8699500" cy="3619500"/>
          </a:xfrm>
        </p:spPr>
        <p:txBody>
          <a:bodyPr/>
          <a:lstStyle>
            <a:lvl1pPr>
              <a:buNone/>
              <a:defRPr/>
            </a:lvl1pPr>
            <a:lvl2pPr>
              <a:buNone/>
              <a:defRPr/>
            </a:lvl2pPr>
            <a:lvl3pPr>
              <a:buNone/>
              <a:defRPr/>
            </a:lvl3pPr>
            <a:lvl4pPr>
              <a:buNone/>
              <a:defRPr/>
            </a:lvl4pPr>
            <a:lvl5pPr>
              <a:buNone/>
              <a:defRPr/>
            </a:lvl5pPr>
          </a:lstStyle>
          <a:p>
            <a:pPr lvl="0"/>
            <a:r>
              <a:rPr lang="zh-CN" altLang="en-US" smtClean="0"/>
              <a:t>单击此处编辑母版文本样式</a:t>
            </a:r>
          </a:p>
        </p:txBody>
      </p:sp>
    </p:spTree>
    <p:extLst>
      <p:ext uri="{BB962C8B-B14F-4D97-AF65-F5344CB8AC3E}">
        <p14:creationId xmlns:p14="http://schemas.microsoft.com/office/powerpoint/2010/main" val="1826245920"/>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Solid Dots">
    <p:spTree>
      <p:nvGrpSpPr>
        <p:cNvPr id="1" name=""/>
        <p:cNvGrpSpPr/>
        <p:nvPr/>
      </p:nvGrpSpPr>
      <p:grpSpPr>
        <a:xfrm>
          <a:off x="0" y="0"/>
          <a:ext cx="0" cy="0"/>
          <a:chOff x="0" y="0"/>
          <a:chExt cx="0" cy="0"/>
        </a:xfrm>
      </p:grpSpPr>
      <p:pic>
        <p:nvPicPr>
          <p:cNvPr id="2" name="Picture 21" descr="xiaohui_trans_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0" y="0"/>
            <a:ext cx="648072" cy="48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C:\Documents and Settings\Administrator\桌面\应用示例-白色背景1.jpg"/>
          <p:cNvPicPr>
            <a:picLocks noChangeAspect="1" noChangeArrowheads="1"/>
          </p:cNvPicPr>
          <p:nvPr userDrawn="1"/>
        </p:nvPicPr>
        <p:blipFill>
          <a:blip r:embed="rId3">
            <a:extLst>
              <a:ext uri="{28A0092B-C50C-407E-A947-70E740481C1C}">
                <a14:useLocalDpi xmlns:a14="http://schemas.microsoft.com/office/drawing/2010/main" val="0"/>
              </a:ext>
            </a:extLst>
          </a:blip>
          <a:srcRect l="13281" t="32292" r="15625" b="41666"/>
          <a:stretch>
            <a:fillRect/>
          </a:stretch>
        </p:blipFill>
        <p:spPr bwMode="auto">
          <a:xfrm>
            <a:off x="7857984" y="51470"/>
            <a:ext cx="1250107" cy="344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3743400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idx="10"/>
          </p:nvPr>
        </p:nvSpPr>
        <p:spPr>
          <a:xfrm>
            <a:off x="685800" y="4800600"/>
            <a:ext cx="1893888" cy="220266"/>
          </a:xfrm>
          <a:prstGeom prst="rect">
            <a:avLst/>
          </a:prstGeom>
        </p:spPr>
        <p:txBody>
          <a:bodyPr/>
          <a:lstStyle>
            <a:lvl1pPr>
              <a:defRPr/>
            </a:lvl1pPr>
          </a:lstStyle>
          <a:p>
            <a:r>
              <a:rPr lang="en-US"/>
              <a:t>10.04.2013</a:t>
            </a:r>
          </a:p>
        </p:txBody>
      </p:sp>
      <p:sp>
        <p:nvSpPr>
          <p:cNvPr id="3" name="Footer Placeholder 2"/>
          <p:cNvSpPr>
            <a:spLocks noGrp="1"/>
          </p:cNvSpPr>
          <p:nvPr>
            <p:ph type="ftr" idx="11"/>
          </p:nvPr>
        </p:nvSpPr>
        <p:spPr>
          <a:xfrm>
            <a:off x="2743200" y="4800600"/>
            <a:ext cx="4191000" cy="220266"/>
          </a:xfrm>
          <a:prstGeom prst="rect">
            <a:avLst/>
          </a:prstGeom>
        </p:spPr>
        <p:txBody>
          <a:bodyPr/>
          <a:lstStyle>
            <a:lvl1pPr>
              <a:defRPr/>
            </a:lvl1pPr>
          </a:lstStyle>
          <a:p>
            <a:r>
              <a:rPr lang="en-US"/>
              <a:t>Glasgow University</a:t>
            </a:r>
          </a:p>
        </p:txBody>
      </p:sp>
      <p:sp>
        <p:nvSpPr>
          <p:cNvPr id="4" name="Slide Number Placeholder 3"/>
          <p:cNvSpPr>
            <a:spLocks noGrp="1"/>
          </p:cNvSpPr>
          <p:nvPr>
            <p:ph type="sldNum" idx="12"/>
          </p:nvPr>
        </p:nvSpPr>
        <p:spPr>
          <a:xfrm>
            <a:off x="7086600" y="4800600"/>
            <a:ext cx="1360488" cy="220266"/>
          </a:xfrm>
          <a:prstGeom prst="rect">
            <a:avLst/>
          </a:prstGeom>
        </p:spPr>
        <p:txBody>
          <a:bodyPr/>
          <a:lstStyle>
            <a:lvl1pPr>
              <a:defRPr/>
            </a:lvl1pPr>
          </a:lstStyle>
          <a:p>
            <a:fld id="{1E4FD2EA-F9F5-694A-9AF3-E5F69D237FF3}" type="slidenum">
              <a:rPr lang="en-US"/>
              <a:pPr/>
              <a:t>‹#›</a:t>
            </a:fld>
            <a:endParaRPr lang="en-US"/>
          </a:p>
        </p:txBody>
      </p:sp>
    </p:spTree>
    <p:extLst>
      <p:ext uri="{BB962C8B-B14F-4D97-AF65-F5344CB8AC3E}">
        <p14:creationId xmlns:p14="http://schemas.microsoft.com/office/powerpoint/2010/main" val="34221850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0"/>
            <a:ext cx="7761288" cy="848916"/>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685800" y="1485900"/>
            <a:ext cx="3803650" cy="14811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1850" y="1485900"/>
            <a:ext cx="3805238" cy="14811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85800" y="3081337"/>
            <a:ext cx="3803650" cy="14823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1850" y="3081337"/>
            <a:ext cx="3805238" cy="14823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idx="10"/>
          </p:nvPr>
        </p:nvSpPr>
        <p:spPr>
          <a:xfrm>
            <a:off x="685800" y="4800600"/>
            <a:ext cx="1893888" cy="220266"/>
          </a:xfrm>
          <a:prstGeom prst="rect">
            <a:avLst/>
          </a:prstGeom>
        </p:spPr>
        <p:txBody>
          <a:bodyPr/>
          <a:lstStyle>
            <a:lvl1pPr>
              <a:defRPr/>
            </a:lvl1pPr>
          </a:lstStyle>
          <a:p>
            <a:r>
              <a:rPr lang="en-US"/>
              <a:t>10.04.2013</a:t>
            </a:r>
          </a:p>
        </p:txBody>
      </p:sp>
      <p:sp>
        <p:nvSpPr>
          <p:cNvPr id="8" name="Footer Placeholder 7"/>
          <p:cNvSpPr>
            <a:spLocks noGrp="1"/>
          </p:cNvSpPr>
          <p:nvPr>
            <p:ph type="ftr" idx="11"/>
          </p:nvPr>
        </p:nvSpPr>
        <p:spPr>
          <a:xfrm>
            <a:off x="2743200" y="4800600"/>
            <a:ext cx="4191000" cy="220266"/>
          </a:xfrm>
          <a:prstGeom prst="rect">
            <a:avLst/>
          </a:prstGeom>
        </p:spPr>
        <p:txBody>
          <a:bodyPr/>
          <a:lstStyle>
            <a:lvl1pPr>
              <a:defRPr/>
            </a:lvl1pPr>
          </a:lstStyle>
          <a:p>
            <a:r>
              <a:rPr lang="en-US"/>
              <a:t>Glasgow University</a:t>
            </a:r>
          </a:p>
        </p:txBody>
      </p:sp>
      <p:sp>
        <p:nvSpPr>
          <p:cNvPr id="9" name="Slide Number Placeholder 8"/>
          <p:cNvSpPr>
            <a:spLocks noGrp="1"/>
          </p:cNvSpPr>
          <p:nvPr>
            <p:ph type="sldNum" idx="12"/>
          </p:nvPr>
        </p:nvSpPr>
        <p:spPr>
          <a:xfrm>
            <a:off x="7086600" y="4800600"/>
            <a:ext cx="1360488" cy="220266"/>
          </a:xfrm>
          <a:prstGeom prst="rect">
            <a:avLst/>
          </a:prstGeom>
        </p:spPr>
        <p:txBody>
          <a:bodyPr/>
          <a:lstStyle>
            <a:lvl1pPr>
              <a:defRPr/>
            </a:lvl1pPr>
          </a:lstStyle>
          <a:p>
            <a:fld id="{9E04B0C6-73BC-D845-8A3F-E11963124DB4}" type="slidenum">
              <a:rPr lang="en-US"/>
              <a:pPr/>
              <a:t>‹#›</a:t>
            </a:fld>
            <a:endParaRPr lang="en-US"/>
          </a:p>
        </p:txBody>
      </p:sp>
    </p:spTree>
    <p:extLst>
      <p:ext uri="{BB962C8B-B14F-4D97-AF65-F5344CB8AC3E}">
        <p14:creationId xmlns:p14="http://schemas.microsoft.com/office/powerpoint/2010/main" val="3761278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761288" cy="84891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485900"/>
            <a:ext cx="3803650" cy="307776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1850" y="1485900"/>
            <a:ext cx="3805238" cy="14811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1850" y="3081337"/>
            <a:ext cx="3805238" cy="14823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idx="10"/>
          </p:nvPr>
        </p:nvSpPr>
        <p:spPr>
          <a:xfrm>
            <a:off x="685800" y="4800600"/>
            <a:ext cx="1893888" cy="220266"/>
          </a:xfrm>
          <a:prstGeom prst="rect">
            <a:avLst/>
          </a:prstGeom>
        </p:spPr>
        <p:txBody>
          <a:bodyPr/>
          <a:lstStyle>
            <a:lvl1pPr>
              <a:defRPr/>
            </a:lvl1pPr>
          </a:lstStyle>
          <a:p>
            <a:r>
              <a:rPr lang="en-US"/>
              <a:t>10.04.2013</a:t>
            </a:r>
          </a:p>
        </p:txBody>
      </p:sp>
      <p:sp>
        <p:nvSpPr>
          <p:cNvPr id="7" name="Footer Placeholder 6"/>
          <p:cNvSpPr>
            <a:spLocks noGrp="1"/>
          </p:cNvSpPr>
          <p:nvPr>
            <p:ph type="ftr" idx="11"/>
          </p:nvPr>
        </p:nvSpPr>
        <p:spPr>
          <a:xfrm>
            <a:off x="2743200" y="4800600"/>
            <a:ext cx="4191000" cy="220266"/>
          </a:xfrm>
          <a:prstGeom prst="rect">
            <a:avLst/>
          </a:prstGeom>
        </p:spPr>
        <p:txBody>
          <a:bodyPr/>
          <a:lstStyle>
            <a:lvl1pPr>
              <a:defRPr/>
            </a:lvl1pPr>
          </a:lstStyle>
          <a:p>
            <a:r>
              <a:rPr lang="en-US"/>
              <a:t>Glasgow University</a:t>
            </a:r>
          </a:p>
        </p:txBody>
      </p:sp>
      <p:sp>
        <p:nvSpPr>
          <p:cNvPr id="8" name="Slide Number Placeholder 7"/>
          <p:cNvSpPr>
            <a:spLocks noGrp="1"/>
          </p:cNvSpPr>
          <p:nvPr>
            <p:ph type="sldNum" idx="12"/>
          </p:nvPr>
        </p:nvSpPr>
        <p:spPr>
          <a:xfrm>
            <a:off x="7086600" y="4800600"/>
            <a:ext cx="1360488" cy="220266"/>
          </a:xfrm>
          <a:prstGeom prst="rect">
            <a:avLst/>
          </a:prstGeom>
        </p:spPr>
        <p:txBody>
          <a:bodyPr/>
          <a:lstStyle>
            <a:lvl1pPr>
              <a:defRPr/>
            </a:lvl1pPr>
          </a:lstStyle>
          <a:p>
            <a:fld id="{4B1B5E75-C1DD-DA49-B5D1-BDF5C80154C0}" type="slidenum">
              <a:rPr lang="en-US"/>
              <a:pPr/>
              <a:t>‹#›</a:t>
            </a:fld>
            <a:endParaRPr lang="en-US"/>
          </a:p>
        </p:txBody>
      </p:sp>
    </p:spTree>
    <p:extLst>
      <p:ext uri="{BB962C8B-B14F-4D97-AF65-F5344CB8AC3E}">
        <p14:creationId xmlns:p14="http://schemas.microsoft.com/office/powerpoint/2010/main" val="1715262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封面">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107504" y="2949792"/>
            <a:ext cx="8856984" cy="536165"/>
          </a:xfrm>
          <a:prstGeom prst="rect">
            <a:avLst/>
          </a:prstGeom>
        </p:spPr>
        <p:txBody>
          <a:bodyPr/>
          <a:lstStyle>
            <a:lvl1pPr algn="l">
              <a:defRPr sz="3200">
                <a:solidFill>
                  <a:schemeClr val="accent1"/>
                </a:solidFill>
                <a:latin typeface="微软雅黑" pitchFamily="34" charset="-122"/>
                <a:ea typeface="微软雅黑" pitchFamily="34" charset="-122"/>
              </a:defRPr>
            </a:lvl1pPr>
          </a:lstStyle>
          <a:p>
            <a:r>
              <a:rPr lang="zh-CN" altLang="en-US" sz="3200" dirty="0" smtClean="0">
                <a:solidFill>
                  <a:schemeClr val="bg1">
                    <a:lumMod val="50000"/>
                  </a:schemeClr>
                </a:solidFill>
                <a:latin typeface="微软雅黑" pitchFamily="34" charset="-122"/>
                <a:ea typeface="微软雅黑" pitchFamily="34" charset="-122"/>
              </a:rPr>
              <a:t>单击此处编辑母版标题样式</a:t>
            </a:r>
            <a:endParaRPr lang="en-US" altLang="zh-CN" sz="3200" dirty="0">
              <a:solidFill>
                <a:schemeClr val="bg1">
                  <a:lumMod val="50000"/>
                </a:schemeClr>
              </a:solidFill>
              <a:latin typeface="微软雅黑" pitchFamily="34" charset="-122"/>
              <a:ea typeface="微软雅黑" pitchFamily="34" charset="-122"/>
            </a:endParaRPr>
          </a:p>
        </p:txBody>
      </p:sp>
      <p:sp>
        <p:nvSpPr>
          <p:cNvPr id="11" name="Text Placeholder 8"/>
          <p:cNvSpPr>
            <a:spLocks noGrp="1"/>
          </p:cNvSpPr>
          <p:nvPr>
            <p:ph type="body" sz="quarter" idx="10" hasCustomPrompt="1"/>
          </p:nvPr>
        </p:nvSpPr>
        <p:spPr>
          <a:xfrm>
            <a:off x="107504" y="3489852"/>
            <a:ext cx="4248472" cy="378041"/>
          </a:xfrm>
          <a:prstGeom prst="rect">
            <a:avLst/>
          </a:prstGeom>
        </p:spPr>
        <p:txBody>
          <a:bodyPr/>
          <a:lstStyle>
            <a:lvl1pPr marL="342900" marR="0" indent="-342900" algn="l" defTabSz="457200" rtl="0" eaLnBrk="1" fontAlgn="base" latinLnBrk="0" hangingPunct="1">
              <a:lnSpc>
                <a:spcPct val="100000"/>
              </a:lnSpc>
              <a:spcBef>
                <a:spcPct val="0"/>
              </a:spcBef>
              <a:spcAft>
                <a:spcPct val="0"/>
              </a:spcAft>
              <a:buClrTx/>
              <a:buSzTx/>
              <a:buFont typeface="Arial" pitchFamily="34" charset="0"/>
              <a:buNone/>
              <a:tabLst/>
              <a:defRPr lang="en-US" sz="2000" kern="1200" baseline="0">
                <a:solidFill>
                  <a:srgbClr val="002060"/>
                </a:solidFill>
                <a:latin typeface="微软雅黑" pitchFamily="34" charset="-122"/>
                <a:ea typeface="微软雅黑" pitchFamily="34" charset="-122"/>
                <a:cs typeface="微软雅黑" pitchFamily="34" charset="-122"/>
              </a:defRPr>
            </a:lvl1pPr>
          </a:lstStyle>
          <a:p>
            <a:pPr>
              <a:defRPr/>
            </a:pPr>
            <a:r>
              <a:rPr lang="en-US" altLang="zh-CN" sz="1600" dirty="0" smtClean="0">
                <a:solidFill>
                  <a:schemeClr val="accent1"/>
                </a:solidFill>
              </a:rPr>
              <a:t>Presentation Subhead Goes Here</a:t>
            </a:r>
          </a:p>
        </p:txBody>
      </p:sp>
      <p:sp>
        <p:nvSpPr>
          <p:cNvPr id="12" name="Text Placeholder 8"/>
          <p:cNvSpPr>
            <a:spLocks noGrp="1"/>
          </p:cNvSpPr>
          <p:nvPr>
            <p:ph type="body" sz="quarter" idx="11" hasCustomPrompt="1"/>
          </p:nvPr>
        </p:nvSpPr>
        <p:spPr>
          <a:xfrm>
            <a:off x="179512" y="4731991"/>
            <a:ext cx="1584176" cy="162017"/>
          </a:xfrm>
          <a:prstGeom prst="rect">
            <a:avLst/>
          </a:prstGeom>
        </p:spPr>
        <p:txBody>
          <a:bodyPr/>
          <a:lstStyle>
            <a:lvl1pPr marL="0" marR="0" indent="0" algn="l" defTabSz="457200" rtl="0" eaLnBrk="1" fontAlgn="base" latinLnBrk="0" hangingPunct="1">
              <a:lnSpc>
                <a:spcPct val="100000"/>
              </a:lnSpc>
              <a:spcBef>
                <a:spcPct val="0"/>
              </a:spcBef>
              <a:spcAft>
                <a:spcPct val="0"/>
              </a:spcAft>
              <a:buClrTx/>
              <a:buSzTx/>
              <a:buFontTx/>
              <a:buNone/>
              <a:tabLst/>
              <a:defRPr lang="en-US" sz="1000" kern="1200" baseline="0">
                <a:solidFill>
                  <a:schemeClr val="bg1">
                    <a:lumMod val="65000"/>
                  </a:schemeClr>
                </a:solidFill>
                <a:latin typeface="微软雅黑" pitchFamily="34" charset="-122"/>
                <a:ea typeface="微软雅黑" pitchFamily="34" charset="-122"/>
                <a:cs typeface="微软雅黑" pitchFamily="34" charset="-122"/>
              </a:defRPr>
            </a:lvl1pPr>
          </a:lstStyle>
          <a:p>
            <a:pPr marL="0" marR="0" indent="0" algn="l" defTabSz="457200" rtl="0" eaLnBrk="1" fontAlgn="base" latinLnBrk="0" hangingPunct="1">
              <a:lnSpc>
                <a:spcPct val="100000"/>
              </a:lnSpc>
              <a:spcBef>
                <a:spcPct val="0"/>
              </a:spcBef>
              <a:spcAft>
                <a:spcPct val="0"/>
              </a:spcAft>
              <a:buClrTx/>
              <a:buSzTx/>
              <a:buFontTx/>
              <a:buNone/>
              <a:tabLst/>
              <a:defRPr/>
            </a:pPr>
            <a:r>
              <a:rPr lang="en-US" altLang="zh-CN" sz="1200" dirty="0" smtClean="0">
                <a:solidFill>
                  <a:schemeClr val="bg1">
                    <a:lumMod val="65000"/>
                  </a:schemeClr>
                </a:solidFill>
              </a:rPr>
              <a:t>SPEAKER NAME</a:t>
            </a:r>
          </a:p>
        </p:txBody>
      </p:sp>
      <p:sp>
        <p:nvSpPr>
          <p:cNvPr id="13" name="Text Placeholder 8"/>
          <p:cNvSpPr>
            <a:spLocks noGrp="1"/>
          </p:cNvSpPr>
          <p:nvPr>
            <p:ph type="body" sz="quarter" idx="12" hasCustomPrompt="1"/>
          </p:nvPr>
        </p:nvSpPr>
        <p:spPr>
          <a:xfrm>
            <a:off x="1907704" y="4731991"/>
            <a:ext cx="1224136" cy="162018"/>
          </a:xfrm>
          <a:prstGeom prst="rect">
            <a:avLst/>
          </a:prstGeom>
        </p:spPr>
        <p:txBody>
          <a:bodyPr/>
          <a:lstStyle>
            <a:lvl1pPr marL="0" marR="0" indent="0" algn="l" defTabSz="457200" rtl="0" eaLnBrk="1" fontAlgn="base" latinLnBrk="0" hangingPunct="1">
              <a:lnSpc>
                <a:spcPct val="100000"/>
              </a:lnSpc>
              <a:spcBef>
                <a:spcPct val="0"/>
              </a:spcBef>
              <a:spcAft>
                <a:spcPct val="0"/>
              </a:spcAft>
              <a:buClrTx/>
              <a:buSzTx/>
              <a:buFontTx/>
              <a:buNone/>
              <a:tabLst/>
              <a:defRPr lang="en-US" sz="1000" kern="1200" baseline="0">
                <a:solidFill>
                  <a:schemeClr val="bg1">
                    <a:lumMod val="65000"/>
                  </a:schemeClr>
                </a:solidFill>
                <a:latin typeface="微软雅黑" pitchFamily="34" charset="-122"/>
                <a:ea typeface="微软雅黑" pitchFamily="34" charset="-122"/>
                <a:cs typeface="微软雅黑" pitchFamily="34" charset="-122"/>
              </a:defRPr>
            </a:lvl1pPr>
          </a:lstStyle>
          <a:p>
            <a:pPr marL="0" marR="0" indent="0" algn="l" defTabSz="457200" rtl="0" eaLnBrk="1" fontAlgn="base" latinLnBrk="0" hangingPunct="1">
              <a:lnSpc>
                <a:spcPct val="100000"/>
              </a:lnSpc>
              <a:spcBef>
                <a:spcPct val="0"/>
              </a:spcBef>
              <a:spcAft>
                <a:spcPct val="0"/>
              </a:spcAft>
              <a:buClrTx/>
              <a:buSzTx/>
              <a:buFontTx/>
              <a:buNone/>
              <a:tabLst/>
              <a:defRPr/>
            </a:pPr>
            <a:r>
              <a:rPr lang="en-US" altLang="zh-CN" sz="1200" dirty="0" smtClean="0">
                <a:solidFill>
                  <a:schemeClr val="bg1">
                    <a:lumMod val="65000"/>
                  </a:schemeClr>
                </a:solidFill>
              </a:rPr>
              <a:t>JUN 17,2014</a:t>
            </a:r>
          </a:p>
        </p:txBody>
      </p:sp>
      <p:sp>
        <p:nvSpPr>
          <p:cNvPr id="6" name="Text Placeholder 8"/>
          <p:cNvSpPr>
            <a:spLocks noGrp="1"/>
          </p:cNvSpPr>
          <p:nvPr>
            <p:ph type="body" sz="quarter" idx="13" hasCustomPrompt="1"/>
          </p:nvPr>
        </p:nvSpPr>
        <p:spPr>
          <a:xfrm>
            <a:off x="179512" y="4894009"/>
            <a:ext cx="1584176" cy="162017"/>
          </a:xfrm>
          <a:prstGeom prst="rect">
            <a:avLst/>
          </a:prstGeom>
        </p:spPr>
        <p:txBody>
          <a:bodyPr/>
          <a:lstStyle>
            <a:lvl1pPr marL="0" marR="0" indent="0" algn="l" defTabSz="457200" rtl="0" eaLnBrk="1" fontAlgn="base" latinLnBrk="0" hangingPunct="1">
              <a:lnSpc>
                <a:spcPct val="100000"/>
              </a:lnSpc>
              <a:spcBef>
                <a:spcPct val="0"/>
              </a:spcBef>
              <a:spcAft>
                <a:spcPct val="0"/>
              </a:spcAft>
              <a:buClrTx/>
              <a:buSzTx/>
              <a:buFontTx/>
              <a:buNone/>
              <a:tabLst/>
              <a:defRPr lang="en-US" sz="1000" kern="1200" baseline="0">
                <a:solidFill>
                  <a:schemeClr val="bg1">
                    <a:lumMod val="65000"/>
                  </a:schemeClr>
                </a:solidFill>
                <a:latin typeface="微软雅黑" pitchFamily="34" charset="-122"/>
                <a:ea typeface="微软雅黑" pitchFamily="34" charset="-122"/>
                <a:cs typeface="微软雅黑" pitchFamily="34" charset="-122"/>
              </a:defRPr>
            </a:lvl1pPr>
          </a:lstStyle>
          <a:p>
            <a:pPr marL="0" marR="0" indent="0" algn="l" defTabSz="457200" rtl="0" eaLnBrk="1" fontAlgn="base" latinLnBrk="0" hangingPunct="1">
              <a:lnSpc>
                <a:spcPct val="100000"/>
              </a:lnSpc>
              <a:spcBef>
                <a:spcPct val="0"/>
              </a:spcBef>
              <a:spcAft>
                <a:spcPct val="0"/>
              </a:spcAft>
              <a:buClrTx/>
              <a:buSzTx/>
              <a:buFontTx/>
              <a:buNone/>
              <a:tabLst/>
              <a:defRPr/>
            </a:pPr>
            <a:r>
              <a:rPr lang="en-US" altLang="zh-CN" sz="1200" dirty="0" smtClean="0">
                <a:solidFill>
                  <a:schemeClr val="bg1">
                    <a:lumMod val="65000"/>
                  </a:schemeClr>
                </a:solidFill>
              </a:rPr>
              <a:t>TIELE</a:t>
            </a:r>
          </a:p>
        </p:txBody>
      </p:sp>
    </p:spTree>
    <p:extLst>
      <p:ext uri="{BB962C8B-B14F-4D97-AF65-F5344CB8AC3E}">
        <p14:creationId xmlns:p14="http://schemas.microsoft.com/office/powerpoint/2010/main" val="3062754937"/>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底">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574281"/>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3836158676"/>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layout with footer">
    <p:spTree>
      <p:nvGrpSpPr>
        <p:cNvPr id="1" name=""/>
        <p:cNvGrpSpPr/>
        <p:nvPr/>
      </p:nvGrpSpPr>
      <p:grpSpPr>
        <a:xfrm>
          <a:off x="0" y="0"/>
          <a:ext cx="0" cy="0"/>
          <a:chOff x="0" y="0"/>
          <a:chExt cx="0" cy="0"/>
        </a:xfrm>
      </p:grpSpPr>
      <p:sp>
        <p:nvSpPr>
          <p:cNvPr id="2" name="Rectangle 2"/>
          <p:cNvSpPr/>
          <p:nvPr/>
        </p:nvSpPr>
        <p:spPr>
          <a:xfrm>
            <a:off x="0" y="0"/>
            <a:ext cx="9144000" cy="43541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 name="Footer Placeholder 4"/>
          <p:cNvSpPr txBox="1">
            <a:spLocks/>
          </p:cNvSpPr>
          <p:nvPr>
            <p:custDataLst>
              <p:tags r:id="rId1"/>
            </p:custDataLst>
          </p:nvPr>
        </p:nvSpPr>
        <p:spPr>
          <a:xfrm>
            <a:off x="393700" y="4736306"/>
            <a:ext cx="2895600" cy="201216"/>
          </a:xfrm>
          <a:prstGeom prst="rect">
            <a:avLst/>
          </a:prstGeom>
        </p:spPr>
        <p:txBody>
          <a:bodyPr anchor="ctr"/>
          <a:lstStyle>
            <a:defPPr>
              <a:defRPr lang="en-US"/>
            </a:defPPr>
            <a:lvl1pPr algn="l" defTabSz="457200" rtl="0" fontAlgn="auto">
              <a:spcBef>
                <a:spcPts val="0"/>
              </a:spcBef>
              <a:spcAft>
                <a:spcPts val="0"/>
              </a:spcAft>
              <a:defRPr sz="1200"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4584A845-9615-40AF-A12A-59BAF732A26A}" type="slidenum">
              <a:rPr lang="en-US" smtClean="0">
                <a:latin typeface="+mj-lt"/>
              </a:rPr>
              <a:pPr>
                <a:defRPr/>
              </a:pPr>
              <a:t>‹#›</a:t>
            </a:fld>
            <a:endParaRPr lang="en-US" dirty="0">
              <a:latin typeface="+mj-lt"/>
            </a:endParaRPr>
          </a:p>
        </p:txBody>
      </p:sp>
    </p:spTree>
    <p:extLst>
      <p:ext uri="{BB962C8B-B14F-4D97-AF65-F5344CB8AC3E}">
        <p14:creationId xmlns:p14="http://schemas.microsoft.com/office/powerpoint/2010/main" val="2451455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layout with footer">
    <p:spTree>
      <p:nvGrpSpPr>
        <p:cNvPr id="1" name=""/>
        <p:cNvGrpSpPr/>
        <p:nvPr/>
      </p:nvGrpSpPr>
      <p:grpSpPr>
        <a:xfrm>
          <a:off x="0" y="0"/>
          <a:ext cx="0" cy="0"/>
          <a:chOff x="0" y="0"/>
          <a:chExt cx="0" cy="0"/>
        </a:xfrm>
      </p:grpSpPr>
      <p:sp>
        <p:nvSpPr>
          <p:cNvPr id="3" name="Rectangle 2"/>
          <p:cNvSpPr/>
          <p:nvPr userDrawn="1"/>
        </p:nvSpPr>
        <p:spPr>
          <a:xfrm>
            <a:off x="0" y="0"/>
            <a:ext cx="9144000" cy="43542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8434303"/>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457200" y="1200150"/>
            <a:ext cx="4038600" cy="3067051"/>
          </a:xfrm>
        </p:spPr>
        <p:txBody>
          <a:bodyPr/>
          <a:lstStyle>
            <a:lvl1pPr>
              <a:defRPr sz="2000">
                <a:latin typeface="微软雅黑" pitchFamily="34" charset="-122"/>
                <a:ea typeface="微软雅黑" pitchFamily="34" charset="-122"/>
              </a:defRPr>
            </a:lvl1pPr>
            <a:lvl2pPr>
              <a:defRPr sz="1800">
                <a:latin typeface="微软雅黑" pitchFamily="34" charset="-122"/>
                <a:ea typeface="微软雅黑" pitchFamily="34" charset="-122"/>
              </a:defRPr>
            </a:lvl2pPr>
            <a:lvl3pPr>
              <a:defRPr sz="1600">
                <a:latin typeface="微软雅黑" pitchFamily="34" charset="-122"/>
                <a:ea typeface="微软雅黑" pitchFamily="34" charset="-122"/>
              </a:defRPr>
            </a:lvl3pPr>
            <a:lvl4pPr>
              <a:defRPr sz="1400">
                <a:latin typeface="微软雅黑" pitchFamily="34" charset="-122"/>
                <a:ea typeface="微软雅黑" pitchFamily="34" charset="-122"/>
              </a:defRPr>
            </a:lvl4pPr>
            <a:lvl5pPr>
              <a:defRPr sz="1400">
                <a:latin typeface="微软雅黑" pitchFamily="34" charset="-122"/>
                <a:ea typeface="微软雅黑" pitchFamily="34" charset="-122"/>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766733" y="1200151"/>
            <a:ext cx="4038600" cy="3067050"/>
          </a:xfrm>
        </p:spPr>
        <p:txBody>
          <a:bodyPr/>
          <a:lstStyle>
            <a:lvl1pPr>
              <a:defRPr sz="2000">
                <a:latin typeface="微软雅黑" pitchFamily="34" charset="-122"/>
                <a:ea typeface="微软雅黑" pitchFamily="34" charset="-122"/>
              </a:defRPr>
            </a:lvl1pPr>
            <a:lvl2pPr>
              <a:defRPr sz="1800">
                <a:latin typeface="微软雅黑" pitchFamily="34" charset="-122"/>
                <a:ea typeface="微软雅黑" pitchFamily="34" charset="-122"/>
              </a:defRPr>
            </a:lvl2pPr>
            <a:lvl3pPr>
              <a:defRPr sz="1600">
                <a:latin typeface="微软雅黑" pitchFamily="34" charset="-122"/>
                <a:ea typeface="微软雅黑" pitchFamily="34" charset="-122"/>
              </a:defRPr>
            </a:lvl3pPr>
            <a:lvl4pPr>
              <a:defRPr sz="1400">
                <a:latin typeface="微软雅黑" pitchFamily="34" charset="-122"/>
                <a:ea typeface="微软雅黑" pitchFamily="34" charset="-122"/>
              </a:defRPr>
            </a:lvl4pPr>
            <a:lvl5pPr>
              <a:defRPr sz="1400">
                <a:latin typeface="微软雅黑" pitchFamily="34" charset="-122"/>
                <a:ea typeface="微软雅黑" pitchFamily="34" charset="-122"/>
              </a:defRPr>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3573408755"/>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
        <p:nvSpPr>
          <p:cNvPr id="4" name="Content Placeholder 3"/>
          <p:cNvSpPr>
            <a:spLocks noGrp="1"/>
          </p:cNvSpPr>
          <p:nvPr>
            <p:ph sz="half" idx="2"/>
          </p:nvPr>
        </p:nvSpPr>
        <p:spPr>
          <a:xfrm>
            <a:off x="4766733" y="1200151"/>
            <a:ext cx="4038600" cy="3067050"/>
          </a:xfrm>
        </p:spPr>
        <p:txBody>
          <a:bodyPr/>
          <a:lstStyle>
            <a:lvl1pPr>
              <a:defRPr sz="2000">
                <a:latin typeface="微软雅黑" pitchFamily="34" charset="-122"/>
                <a:ea typeface="微软雅黑" pitchFamily="34" charset="-122"/>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zh-CN" altLang="en-US" smtClean="0"/>
              <a:t>单击此处编辑母版文本样式</a:t>
            </a:r>
          </a:p>
        </p:txBody>
      </p:sp>
      <p:sp>
        <p:nvSpPr>
          <p:cNvPr id="6" name="Content Placeholder 5"/>
          <p:cNvSpPr>
            <a:spLocks noGrp="1"/>
          </p:cNvSpPr>
          <p:nvPr>
            <p:ph sz="quarter" idx="10" hasCustomPrompt="1"/>
          </p:nvPr>
        </p:nvSpPr>
        <p:spPr>
          <a:xfrm>
            <a:off x="444500" y="1714500"/>
            <a:ext cx="3484562" cy="216028"/>
          </a:xfrm>
        </p:spPr>
        <p:txBody>
          <a:bodyPr/>
          <a:lstStyle>
            <a:lvl1pPr>
              <a:buNone/>
              <a:defRPr sz="1200" cap="all">
                <a:solidFill>
                  <a:schemeClr val="accent2"/>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FIRST SUBHEAD</a:t>
            </a:r>
            <a:endParaRPr lang="en-US" dirty="0"/>
          </a:p>
        </p:txBody>
      </p:sp>
      <p:sp>
        <p:nvSpPr>
          <p:cNvPr id="8" name="Text Placeholder 7"/>
          <p:cNvSpPr>
            <a:spLocks noGrp="1"/>
          </p:cNvSpPr>
          <p:nvPr>
            <p:ph type="body" sz="quarter" idx="11" hasCustomPrompt="1"/>
          </p:nvPr>
        </p:nvSpPr>
        <p:spPr>
          <a:xfrm>
            <a:off x="444500" y="1933576"/>
            <a:ext cx="3640138" cy="974792"/>
          </a:xfrm>
        </p:spPr>
        <p:txBody>
          <a:bodyPr/>
          <a:lstStyle>
            <a:lvl1pPr marL="0" indent="0">
              <a:spcAft>
                <a:spcPts val="0"/>
              </a:spcAft>
              <a:buNone/>
              <a:defRPr sz="14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is written underneath the subhead that is related to the chart to the right. This is the copy that is written underneath the subhead that is related to the chart to the right.</a:t>
            </a:r>
            <a:endParaRPr lang="en-US" dirty="0"/>
          </a:p>
        </p:txBody>
      </p:sp>
      <p:sp>
        <p:nvSpPr>
          <p:cNvPr id="9" name="Content Placeholder 5"/>
          <p:cNvSpPr>
            <a:spLocks noGrp="1"/>
          </p:cNvSpPr>
          <p:nvPr>
            <p:ph sz="quarter" idx="12" hasCustomPrompt="1"/>
          </p:nvPr>
        </p:nvSpPr>
        <p:spPr>
          <a:xfrm>
            <a:off x="444500" y="3046793"/>
            <a:ext cx="3484562" cy="216028"/>
          </a:xfrm>
        </p:spPr>
        <p:txBody>
          <a:bodyPr/>
          <a:lstStyle>
            <a:lvl1pPr>
              <a:buNone/>
              <a:defRPr sz="1200" cap="all">
                <a:solidFill>
                  <a:schemeClr val="accent2"/>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SECOND SUBHEAD</a:t>
            </a:r>
            <a:endParaRPr lang="en-US" dirty="0"/>
          </a:p>
        </p:txBody>
      </p:sp>
      <p:sp>
        <p:nvSpPr>
          <p:cNvPr id="10" name="Text Placeholder 7"/>
          <p:cNvSpPr>
            <a:spLocks noGrp="1"/>
          </p:cNvSpPr>
          <p:nvPr>
            <p:ph type="body" sz="quarter" idx="13" hasCustomPrompt="1"/>
          </p:nvPr>
        </p:nvSpPr>
        <p:spPr>
          <a:xfrm>
            <a:off x="444500" y="3265868"/>
            <a:ext cx="3640138" cy="974792"/>
          </a:xfrm>
        </p:spPr>
        <p:txBody>
          <a:bodyPr/>
          <a:lstStyle>
            <a:lvl1pPr marL="0" indent="0">
              <a:spcAft>
                <a:spcPts val="0"/>
              </a:spcAft>
              <a:buNone/>
              <a:defRPr sz="14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is written underneath the subhead that is related to the chart to the right.</a:t>
            </a:r>
            <a:endParaRPr lang="en-US" dirty="0"/>
          </a:p>
        </p:txBody>
      </p:sp>
    </p:spTree>
    <p:extLst>
      <p:ext uri="{BB962C8B-B14F-4D97-AF65-F5344CB8AC3E}">
        <p14:creationId xmlns:p14="http://schemas.microsoft.com/office/powerpoint/2010/main" val="1164117997"/>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cxnSp>
        <p:nvCxnSpPr>
          <p:cNvPr id="5" name="Straight Connector 4"/>
          <p:cNvCxnSpPr/>
          <p:nvPr userDrawn="1"/>
        </p:nvCxnSpPr>
        <p:spPr>
          <a:xfrm>
            <a:off x="524933" y="3257432"/>
            <a:ext cx="3886201" cy="1191"/>
          </a:xfrm>
          <a:prstGeom prst="line">
            <a:avLst/>
          </a:prstGeom>
          <a:ln w="6350" cap="rnd" cmpd="sng" algn="ctr">
            <a:solidFill>
              <a:srgbClr val="9EABB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4741332" y="3257431"/>
            <a:ext cx="3886201" cy="1191"/>
          </a:xfrm>
          <a:prstGeom prst="line">
            <a:avLst/>
          </a:prstGeom>
          <a:ln w="6350" cap="rnd" cmpd="sng" algn="ctr">
            <a:solidFill>
              <a:srgbClr val="9EABB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Content Placeholder 9"/>
          <p:cNvSpPr>
            <a:spLocks noGrp="1"/>
          </p:cNvSpPr>
          <p:nvPr>
            <p:ph sz="quarter" idx="10"/>
          </p:nvPr>
        </p:nvSpPr>
        <p:spPr>
          <a:xfrm>
            <a:off x="517525" y="1122760"/>
            <a:ext cx="3905250" cy="2034778"/>
          </a:xfrm>
        </p:spPr>
        <p:txBody>
          <a:bodyPr/>
          <a:lstStyle>
            <a:lvl1pPr>
              <a:buNone/>
              <a:defRPr>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1" name="Content Placeholder 9"/>
          <p:cNvSpPr>
            <a:spLocks noGrp="1"/>
          </p:cNvSpPr>
          <p:nvPr>
            <p:ph sz="quarter" idx="11"/>
          </p:nvPr>
        </p:nvSpPr>
        <p:spPr>
          <a:xfrm>
            <a:off x="4743211" y="1122760"/>
            <a:ext cx="3905250" cy="2034778"/>
          </a:xfrm>
        </p:spPr>
        <p:txBody>
          <a:bodyPr/>
          <a:lstStyle>
            <a:lvl1pPr>
              <a:buNone/>
              <a:defRPr>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zh-CN" altLang="en-US" smtClean="0"/>
              <a:t>单击此处编辑母版文本样式</a:t>
            </a:r>
          </a:p>
        </p:txBody>
      </p:sp>
      <p:sp>
        <p:nvSpPr>
          <p:cNvPr id="13" name="Text Placeholder 12"/>
          <p:cNvSpPr>
            <a:spLocks noGrp="1"/>
          </p:cNvSpPr>
          <p:nvPr>
            <p:ph type="body" sz="quarter" idx="12" hasCustomPrompt="1"/>
          </p:nvPr>
        </p:nvSpPr>
        <p:spPr>
          <a:xfrm>
            <a:off x="517525" y="3356373"/>
            <a:ext cx="3905250" cy="175621"/>
          </a:xfrm>
        </p:spPr>
        <p:txBody>
          <a:bodyPr/>
          <a:lstStyle>
            <a:lvl1pPr marL="0" indent="0">
              <a:buNone/>
              <a:defRPr sz="1400" cap="all">
                <a:solidFill>
                  <a:srgbClr val="569BBE"/>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SUBHEAD ON THE LEFT</a:t>
            </a:r>
            <a:endParaRPr lang="en-US" dirty="0"/>
          </a:p>
        </p:txBody>
      </p:sp>
      <p:sp>
        <p:nvSpPr>
          <p:cNvPr id="15" name="Text Placeholder 14"/>
          <p:cNvSpPr>
            <a:spLocks noGrp="1"/>
          </p:cNvSpPr>
          <p:nvPr>
            <p:ph type="body" sz="quarter" idx="13" hasCustomPrompt="1"/>
          </p:nvPr>
        </p:nvSpPr>
        <p:spPr>
          <a:xfrm>
            <a:off x="517525" y="3554670"/>
            <a:ext cx="3911600" cy="848261"/>
          </a:xfrm>
        </p:spPr>
        <p:txBody>
          <a:bodyPr/>
          <a:lstStyle>
            <a:lvl1pPr marL="0" indent="0">
              <a:buNone/>
              <a:defRPr sz="12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is written underneath the subhead that is related to the chart above.</a:t>
            </a:r>
            <a:endParaRPr lang="en-US" dirty="0"/>
          </a:p>
        </p:txBody>
      </p:sp>
      <p:sp>
        <p:nvSpPr>
          <p:cNvPr id="16" name="Text Placeholder 12"/>
          <p:cNvSpPr>
            <a:spLocks noGrp="1"/>
          </p:cNvSpPr>
          <p:nvPr>
            <p:ph type="body" sz="quarter" idx="14" hasCustomPrompt="1"/>
          </p:nvPr>
        </p:nvSpPr>
        <p:spPr>
          <a:xfrm>
            <a:off x="4739723" y="3356373"/>
            <a:ext cx="3905250" cy="175621"/>
          </a:xfrm>
        </p:spPr>
        <p:txBody>
          <a:bodyPr/>
          <a:lstStyle>
            <a:lvl1pPr marL="0" indent="0">
              <a:buNone/>
              <a:defRPr sz="1400" cap="all">
                <a:solidFill>
                  <a:srgbClr val="569BBE"/>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SUBHEAD ON THE Right</a:t>
            </a:r>
            <a:endParaRPr lang="en-US" dirty="0"/>
          </a:p>
        </p:txBody>
      </p:sp>
      <p:sp>
        <p:nvSpPr>
          <p:cNvPr id="17" name="Text Placeholder 14"/>
          <p:cNvSpPr>
            <a:spLocks noGrp="1"/>
          </p:cNvSpPr>
          <p:nvPr>
            <p:ph type="body" sz="quarter" idx="15" hasCustomPrompt="1"/>
          </p:nvPr>
        </p:nvSpPr>
        <p:spPr>
          <a:xfrm>
            <a:off x="4739723" y="3554670"/>
            <a:ext cx="3911600" cy="848261"/>
          </a:xfrm>
        </p:spPr>
        <p:txBody>
          <a:bodyPr/>
          <a:lstStyle>
            <a:lvl1pPr marL="0" indent="0">
              <a:buNone/>
              <a:defRPr sz="12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is written underneath the subhead that is related to the chart above.</a:t>
            </a:r>
            <a:endParaRPr lang="en-US" dirty="0"/>
          </a:p>
        </p:txBody>
      </p:sp>
    </p:spTree>
    <p:extLst>
      <p:ext uri="{BB962C8B-B14F-4D97-AF65-F5344CB8AC3E}">
        <p14:creationId xmlns:p14="http://schemas.microsoft.com/office/powerpoint/2010/main" val="4272379370"/>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Product Info Slide">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
        <p:nvSpPr>
          <p:cNvPr id="4" name="Picture Placeholder 3"/>
          <p:cNvSpPr>
            <a:spLocks noGrp="1"/>
          </p:cNvSpPr>
          <p:nvPr>
            <p:ph type="pic" sz="quarter" idx="10"/>
          </p:nvPr>
        </p:nvSpPr>
        <p:spPr>
          <a:xfrm>
            <a:off x="5003801" y="1005576"/>
            <a:ext cx="3744664" cy="3496178"/>
          </a:xfrm>
        </p:spPr>
        <p:txBody>
          <a:bodyPr/>
          <a:lstStyle>
            <a:lvl1pPr>
              <a:defRPr>
                <a:latin typeface="微软雅黑" pitchFamily="34" charset="-122"/>
                <a:ea typeface="微软雅黑" pitchFamily="34" charset="-122"/>
              </a:defRPr>
            </a:lvl1pPr>
          </a:lstStyle>
          <a:p>
            <a:r>
              <a:rPr lang="zh-CN" altLang="en-US" smtClean="0"/>
              <a:t>单击图标添加图片</a:t>
            </a:r>
            <a:endParaRPr lang="en-US" dirty="0"/>
          </a:p>
        </p:txBody>
      </p:sp>
      <p:sp>
        <p:nvSpPr>
          <p:cNvPr id="5" name="Content Placeholder 5"/>
          <p:cNvSpPr>
            <a:spLocks noGrp="1"/>
          </p:cNvSpPr>
          <p:nvPr>
            <p:ph sz="quarter" idx="11" hasCustomPrompt="1"/>
          </p:nvPr>
        </p:nvSpPr>
        <p:spPr>
          <a:xfrm>
            <a:off x="444500" y="1714500"/>
            <a:ext cx="3551436" cy="216028"/>
          </a:xfrm>
        </p:spPr>
        <p:txBody>
          <a:bodyPr/>
          <a:lstStyle>
            <a:lvl1pPr>
              <a:buNone/>
              <a:defRPr sz="1400" cap="all">
                <a:solidFill>
                  <a:schemeClr val="accent2"/>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Product</a:t>
            </a:r>
            <a:endParaRPr lang="en-US" dirty="0"/>
          </a:p>
        </p:txBody>
      </p:sp>
      <p:sp>
        <p:nvSpPr>
          <p:cNvPr id="6" name="Text Placeholder 7"/>
          <p:cNvSpPr>
            <a:spLocks noGrp="1"/>
          </p:cNvSpPr>
          <p:nvPr>
            <p:ph type="body" sz="quarter" idx="12" hasCustomPrompt="1"/>
          </p:nvPr>
        </p:nvSpPr>
        <p:spPr>
          <a:xfrm>
            <a:off x="444500" y="1933576"/>
            <a:ext cx="3640138" cy="2284406"/>
          </a:xfrm>
        </p:spPr>
        <p:txBody>
          <a:bodyPr/>
          <a:lstStyle>
            <a:lvl1pPr marL="0" indent="0">
              <a:spcAft>
                <a:spcPts val="0"/>
              </a:spcAft>
              <a:buNone/>
              <a:defRPr sz="14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talks about the product that you see to the right of this copy block and it goes into great and interesting detail about it. This is the copy that talks about the product that you see to the right of this copy block and it goes into great and interesting detail about it. </a:t>
            </a:r>
          </a:p>
          <a:p>
            <a:pPr lvl="0"/>
            <a:endParaRPr lang="en-US" dirty="0" smtClean="0"/>
          </a:p>
          <a:p>
            <a:pPr lvl="0"/>
            <a:r>
              <a:rPr lang="en-US" dirty="0" smtClean="0"/>
              <a:t>This is the copy that talks about the product that you see to the right of this copy block and it goes into great and interesting detail about it. </a:t>
            </a:r>
          </a:p>
        </p:txBody>
      </p:sp>
    </p:spTree>
    <p:extLst>
      <p:ext uri="{BB962C8B-B14F-4D97-AF65-F5344CB8AC3E}">
        <p14:creationId xmlns:p14="http://schemas.microsoft.com/office/powerpoint/2010/main" val="3689019611"/>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Product Info Slide">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lvl1pPr>
              <a:defRPr b="0">
                <a:latin typeface="微软雅黑" pitchFamily="34" charset="-122"/>
                <a:ea typeface="微软雅黑" pitchFamily="34" charset="-122"/>
              </a:defRPr>
            </a:lvl1pPr>
          </a:lstStyle>
          <a:p>
            <a:r>
              <a:rPr lang="zh-CN" altLang="en-US" smtClean="0"/>
              <a:t>单击此处编辑母版标题样式</a:t>
            </a:r>
            <a:endParaRPr lang="en-US" dirty="0"/>
          </a:p>
        </p:txBody>
      </p:sp>
      <p:sp>
        <p:nvSpPr>
          <p:cNvPr id="5" name="Content Placeholder 5"/>
          <p:cNvSpPr>
            <a:spLocks noGrp="1"/>
          </p:cNvSpPr>
          <p:nvPr>
            <p:ph sz="quarter" idx="11" hasCustomPrompt="1"/>
          </p:nvPr>
        </p:nvSpPr>
        <p:spPr>
          <a:xfrm>
            <a:off x="4127500" y="1762125"/>
            <a:ext cx="3484562" cy="216028"/>
          </a:xfrm>
        </p:spPr>
        <p:txBody>
          <a:bodyPr/>
          <a:lstStyle>
            <a:lvl1pPr>
              <a:buNone/>
              <a:defRPr sz="1200" cap="all">
                <a:solidFill>
                  <a:schemeClr val="accent2"/>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Product</a:t>
            </a:r>
            <a:endParaRPr lang="en-US" dirty="0"/>
          </a:p>
        </p:txBody>
      </p:sp>
      <p:sp>
        <p:nvSpPr>
          <p:cNvPr id="6" name="Text Placeholder 7"/>
          <p:cNvSpPr>
            <a:spLocks noGrp="1"/>
          </p:cNvSpPr>
          <p:nvPr>
            <p:ph type="body" sz="quarter" idx="12" hasCustomPrompt="1"/>
          </p:nvPr>
        </p:nvSpPr>
        <p:spPr>
          <a:xfrm>
            <a:off x="4127500" y="1982005"/>
            <a:ext cx="4385555" cy="641201"/>
          </a:xfrm>
        </p:spPr>
        <p:txBody>
          <a:bodyPr/>
          <a:lstStyle>
            <a:lvl1pPr marL="0" indent="0">
              <a:spcAft>
                <a:spcPts val="0"/>
              </a:spcAft>
              <a:buNone/>
              <a:defRPr sz="14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the copy that talks about the product that you see to the left of this copy block and it goes into great and interesting detail about it.</a:t>
            </a:r>
          </a:p>
        </p:txBody>
      </p:sp>
      <p:sp>
        <p:nvSpPr>
          <p:cNvPr id="7" name="Text Placeholder 7"/>
          <p:cNvSpPr>
            <a:spLocks noGrp="1"/>
          </p:cNvSpPr>
          <p:nvPr>
            <p:ph type="body" sz="quarter" idx="13" hasCustomPrompt="1"/>
          </p:nvPr>
        </p:nvSpPr>
        <p:spPr>
          <a:xfrm>
            <a:off x="4127500" y="2651929"/>
            <a:ext cx="4385555" cy="802628"/>
          </a:xfrm>
        </p:spPr>
        <p:txBody>
          <a:bodyPr/>
          <a:lstStyle>
            <a:lvl1pPr marL="182563" indent="-182563">
              <a:spcAft>
                <a:spcPts val="0"/>
              </a:spcAft>
              <a:buClr>
                <a:schemeClr val="accent4"/>
              </a:buClr>
              <a:buSzPct val="100000"/>
              <a:buFont typeface="Arial Bold"/>
              <a:buChar char="&gt;"/>
              <a:defRPr sz="1400">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dirty="0" smtClean="0"/>
              <a:t>This is bullet point about the product on the left</a:t>
            </a:r>
          </a:p>
          <a:p>
            <a:pPr lvl="0"/>
            <a:r>
              <a:rPr lang="en-US" dirty="0" smtClean="0"/>
              <a:t>This is bullet point about the product on the left</a:t>
            </a:r>
          </a:p>
          <a:p>
            <a:pPr lvl="0"/>
            <a:r>
              <a:rPr lang="en-US" dirty="0" smtClean="0"/>
              <a:t>This is bullet point about the product on the left</a:t>
            </a:r>
          </a:p>
        </p:txBody>
      </p:sp>
      <p:sp>
        <p:nvSpPr>
          <p:cNvPr id="9" name="Content Placeholder 8"/>
          <p:cNvSpPr>
            <a:spLocks noGrp="1"/>
          </p:cNvSpPr>
          <p:nvPr>
            <p:ph sz="quarter" idx="14"/>
          </p:nvPr>
        </p:nvSpPr>
        <p:spPr>
          <a:xfrm>
            <a:off x="517526" y="1565672"/>
            <a:ext cx="3571875" cy="2837259"/>
          </a:xfrm>
        </p:spPr>
        <p:txBody>
          <a:bodyPr/>
          <a:lstStyle>
            <a:lvl1pPr>
              <a:defRPr>
                <a:latin typeface="微软雅黑" pitchFamily="34" charset="-122"/>
                <a:ea typeface="微软雅黑" pitchFamily="34" charset="-122"/>
              </a:defRPr>
            </a:lvl1pPr>
          </a:lstStyle>
          <a:p>
            <a:pPr lvl="0"/>
            <a:r>
              <a:rPr lang="zh-CN" altLang="en-US" smtClean="0"/>
              <a:t>单击此处编辑母版文本样式</a:t>
            </a:r>
          </a:p>
        </p:txBody>
      </p:sp>
    </p:spTree>
    <p:extLst>
      <p:ext uri="{BB962C8B-B14F-4D97-AF65-F5344CB8AC3E}">
        <p14:creationId xmlns:p14="http://schemas.microsoft.com/office/powerpoint/2010/main" val="1127311534"/>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Image">
    <p:spTree>
      <p:nvGrpSpPr>
        <p:cNvPr id="1" name=""/>
        <p:cNvGrpSpPr/>
        <p:nvPr/>
      </p:nvGrpSpPr>
      <p:grpSpPr>
        <a:xfrm>
          <a:off x="0" y="0"/>
          <a:ext cx="0" cy="0"/>
          <a:chOff x="0" y="0"/>
          <a:chExt cx="0" cy="0"/>
        </a:xfrm>
      </p:grpSpPr>
      <p:sp>
        <p:nvSpPr>
          <p:cNvPr id="10" name="Rectangle 9"/>
          <p:cNvSpPr/>
          <p:nvPr userDrawn="1"/>
        </p:nvSpPr>
        <p:spPr>
          <a:xfrm>
            <a:off x="0" y="0"/>
            <a:ext cx="9144000" cy="43542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Content Placeholder 4"/>
          <p:cNvSpPr>
            <a:spLocks noGrp="1"/>
          </p:cNvSpPr>
          <p:nvPr>
            <p:ph sz="quarter" idx="10"/>
          </p:nvPr>
        </p:nvSpPr>
        <p:spPr>
          <a:xfrm>
            <a:off x="190500" y="857250"/>
            <a:ext cx="4318000" cy="3524250"/>
          </a:xfrm>
        </p:spPr>
        <p:txBody>
          <a:bodyPr/>
          <a:lstStyle>
            <a:lvl1pPr>
              <a:defRPr>
                <a:latin typeface="微软雅黑" pitchFamily="34" charset="-122"/>
                <a:ea typeface="微软雅黑" pitchFamily="34" charset="-122"/>
              </a:defRPr>
            </a:lvl1pPr>
          </a:lstStyle>
          <a:p>
            <a:pPr lvl="0"/>
            <a:r>
              <a:rPr lang="zh-CN" altLang="en-US" smtClean="0"/>
              <a:t>单击此处编辑母版文本样式</a:t>
            </a:r>
          </a:p>
        </p:txBody>
      </p:sp>
      <p:sp>
        <p:nvSpPr>
          <p:cNvPr id="6" name="Content Placeholder 4"/>
          <p:cNvSpPr>
            <a:spLocks noGrp="1"/>
          </p:cNvSpPr>
          <p:nvPr>
            <p:ph sz="quarter" idx="11"/>
          </p:nvPr>
        </p:nvSpPr>
        <p:spPr>
          <a:xfrm>
            <a:off x="4572000" y="857250"/>
            <a:ext cx="4318000" cy="3524250"/>
          </a:xfrm>
        </p:spPr>
        <p:txBody>
          <a:bodyPr/>
          <a:lstStyle>
            <a:lvl1pPr>
              <a:defRPr>
                <a:latin typeface="微软雅黑" pitchFamily="34" charset="-122"/>
                <a:ea typeface="微软雅黑" pitchFamily="34" charset="-122"/>
              </a:defRPr>
            </a:lvl1pPr>
          </a:lstStyle>
          <a:p>
            <a:pPr lvl="0"/>
            <a:r>
              <a:rPr lang="zh-CN" altLang="en-US" smtClean="0"/>
              <a:t>单击此处编辑母版文本样式</a:t>
            </a:r>
          </a:p>
        </p:txBody>
      </p:sp>
      <p:sp>
        <p:nvSpPr>
          <p:cNvPr id="9" name="Text Placeholder 7"/>
          <p:cNvSpPr>
            <a:spLocks noGrp="1"/>
          </p:cNvSpPr>
          <p:nvPr>
            <p:ph type="body" sz="quarter" idx="12" hasCustomPrompt="1"/>
          </p:nvPr>
        </p:nvSpPr>
        <p:spPr>
          <a:xfrm>
            <a:off x="190500" y="238125"/>
            <a:ext cx="4335462" cy="533400"/>
          </a:xfrm>
        </p:spPr>
        <p:txBody>
          <a:bodyPr/>
          <a:lstStyle>
            <a:lvl1pPr>
              <a:buNone/>
              <a:defRPr sz="1050" cap="all" baseline="0">
                <a:solidFill>
                  <a:srgbClr val="569BBE"/>
                </a:solidFill>
                <a:latin typeface="微软雅黑" pitchFamily="34" charset="-122"/>
                <a:ea typeface="微软雅黑" pitchFamily="34" charset="-122"/>
              </a:defRPr>
            </a:lvl1pPr>
            <a:lvl2pPr>
              <a:buNone/>
              <a:defRPr/>
            </a:lvl2pPr>
            <a:lvl3pPr>
              <a:buNone/>
              <a:defRPr/>
            </a:lvl3pPr>
            <a:lvl4pPr>
              <a:buNone/>
              <a:defRPr/>
            </a:lvl4pPr>
            <a:lvl5pPr>
              <a:buNone/>
              <a:defRPr/>
            </a:lvl5pPr>
          </a:lstStyle>
          <a:p>
            <a:pPr lvl="0"/>
            <a:r>
              <a:rPr lang="en-US" altLang="zh-CN" dirty="0" smtClean="0"/>
              <a:t>HEADLINE</a:t>
            </a:r>
          </a:p>
          <a:p>
            <a:pPr lvl="0"/>
            <a:r>
              <a:rPr lang="en-US" altLang="zh-CN" dirty="0" smtClean="0"/>
              <a:t>GOES HERE</a:t>
            </a:r>
            <a:endParaRPr lang="en-US" altLang="zh-CN" dirty="0"/>
          </a:p>
        </p:txBody>
      </p:sp>
    </p:spTree>
    <p:extLst>
      <p:ext uri="{BB962C8B-B14F-4D97-AF65-F5344CB8AC3E}">
        <p14:creationId xmlns:p14="http://schemas.microsoft.com/office/powerpoint/2010/main" val="1626395109"/>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tags" Target="../tags/tag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 Type="http://schemas.openxmlformats.org/officeDocument/2006/relationships/tags" Target="../tags/tag10.xml"/><Relationship Id="rId12" Type="http://schemas.openxmlformats.org/officeDocument/2006/relationships/image" Target="../media/image3.png"/><Relationship Id="rId13" Type="http://schemas.openxmlformats.org/officeDocument/2006/relationships/image" Target="../media/image4.png"/><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theme" Target="../theme/theme3.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10"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06400" y="88106"/>
            <a:ext cx="835025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dirty="0" smtClean="0"/>
              <a:t>单击此处编辑母版标题样式</a:t>
            </a:r>
            <a:endParaRPr lang="en-US" dirty="0"/>
          </a:p>
        </p:txBody>
      </p:sp>
      <p:sp>
        <p:nvSpPr>
          <p:cNvPr id="1028" name="Text Placeholder 2"/>
          <p:cNvSpPr>
            <a:spLocks noGrp="1"/>
          </p:cNvSpPr>
          <p:nvPr>
            <p:ph type="body" idx="1"/>
          </p:nvPr>
        </p:nvSpPr>
        <p:spPr bwMode="auto">
          <a:xfrm>
            <a:off x="403226" y="1079897"/>
            <a:ext cx="8353425" cy="33480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9" name="Rektangel 13"/>
          <p:cNvSpPr>
            <a:spLocks noChangeArrowheads="1"/>
          </p:cNvSpPr>
          <p:nvPr>
            <p:custDataLst>
              <p:tags r:id="rId19"/>
            </p:custDataLst>
          </p:nvPr>
        </p:nvSpPr>
        <p:spPr bwMode="auto">
          <a:xfrm rot="16200000">
            <a:off x="21583" y="4717643"/>
            <a:ext cx="208360" cy="2515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p>
        </p:txBody>
      </p:sp>
      <p:sp>
        <p:nvSpPr>
          <p:cNvPr id="6" name="Footer Placeholder 4"/>
          <p:cNvSpPr txBox="1">
            <a:spLocks/>
          </p:cNvSpPr>
          <p:nvPr>
            <p:custDataLst>
              <p:tags r:id="rId20"/>
            </p:custDataLst>
          </p:nvPr>
        </p:nvSpPr>
        <p:spPr>
          <a:xfrm>
            <a:off x="236240" y="4736841"/>
            <a:ext cx="2895600" cy="201216"/>
          </a:xfrm>
          <a:prstGeom prst="rect">
            <a:avLst/>
          </a:prstGeom>
        </p:spPr>
        <p:txBody>
          <a:bodyPr anchor="ctr"/>
          <a:lstStyle>
            <a:defPPr>
              <a:defRPr lang="en-US"/>
            </a:defPPr>
            <a:lvl1pPr algn="l" defTabSz="457200" rtl="0" fontAlgn="auto">
              <a:spcBef>
                <a:spcPts val="0"/>
              </a:spcBef>
              <a:spcAft>
                <a:spcPts val="0"/>
              </a:spcAft>
              <a:defRPr sz="1200"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defRPr/>
            </a:pPr>
            <a:fld id="{9E96465C-F7B6-4917-B0FA-2C775E71CDCC}" type="slidenum">
              <a:rPr lang="en-US" smtClean="0">
                <a:latin typeface="+mj-lt"/>
              </a:rPr>
              <a:pPr>
                <a:defRPr/>
              </a:pPr>
              <a:t>‹#›</a:t>
            </a:fld>
            <a:endParaRPr lang="en-US" dirty="0">
              <a:latin typeface="+mj-lt"/>
            </a:endParaRP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764" r:id="rId13"/>
    <p:sldLayoutId id="2147483847" r:id="rId14"/>
    <p:sldLayoutId id="2147483850" r:id="rId15"/>
    <p:sldLayoutId id="2147483851" r:id="rId16"/>
    <p:sldLayoutId id="2147483852" r:id="rId17"/>
  </p:sldLayoutIdLst>
  <p:timing>
    <p:tnLst>
      <p:par>
        <p:cTn xmlns:p14="http://schemas.microsoft.com/office/powerpoint/2010/main" id="1" dur="indefinite" restart="never" nodeType="tmRoot"/>
      </p:par>
    </p:tnLst>
  </p:timing>
  <p:hf hdr="0" ftr="0" dt="0"/>
  <p:txStyles>
    <p:title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p:titleStyle>
    <p:bodyStyle>
      <a:lvl1pPr marL="342900" indent="-342900" algn="l" defTabSz="457200" rtl="0" eaLnBrk="1" fontAlgn="base" hangingPunct="1">
        <a:spcBef>
          <a:spcPct val="20000"/>
        </a:spcBef>
        <a:spcAft>
          <a:spcPct val="0"/>
        </a:spcAft>
        <a:buSzPct val="75000"/>
        <a:buFont typeface="Arial" charset="0"/>
        <a:buChar char="•"/>
        <a:defRPr sz="3200" kern="1200">
          <a:solidFill>
            <a:srgbClr val="374957"/>
          </a:solidFill>
          <a:latin typeface="微软雅黑" pitchFamily="34" charset="-122"/>
          <a:ea typeface="微软雅黑" pitchFamily="34" charset="-122"/>
          <a:cs typeface="微软雅黑" pitchFamily="34" charset="-122"/>
        </a:defRPr>
      </a:lvl1pPr>
      <a:lvl2pPr marL="742950" indent="-285750" algn="l" defTabSz="457200" rtl="0" eaLnBrk="1" fontAlgn="base" hangingPunct="1">
        <a:spcBef>
          <a:spcPct val="20000"/>
        </a:spcBef>
        <a:spcAft>
          <a:spcPct val="0"/>
        </a:spcAft>
        <a:buSzPct val="75000"/>
        <a:buFont typeface="Arial" charset="0"/>
        <a:buChar char="•"/>
        <a:defRPr sz="2800" kern="1200">
          <a:solidFill>
            <a:srgbClr val="374957"/>
          </a:solidFill>
          <a:latin typeface="微软雅黑" pitchFamily="34" charset="-122"/>
          <a:ea typeface="微软雅黑" pitchFamily="34" charset="-122"/>
          <a:cs typeface="+mn-cs"/>
        </a:defRPr>
      </a:lvl2pPr>
      <a:lvl3pPr marL="1143000" indent="-228600" algn="l" defTabSz="457200" rtl="0" eaLnBrk="1" fontAlgn="base" hangingPunct="1">
        <a:spcBef>
          <a:spcPct val="20000"/>
        </a:spcBef>
        <a:spcAft>
          <a:spcPct val="0"/>
        </a:spcAft>
        <a:buSzPct val="75000"/>
        <a:buFont typeface="Arial" charset="0"/>
        <a:buChar char="•"/>
        <a:defRPr sz="2400" kern="1200">
          <a:solidFill>
            <a:srgbClr val="374957"/>
          </a:solidFill>
          <a:latin typeface="微软雅黑" pitchFamily="34" charset="-122"/>
          <a:ea typeface="微软雅黑" pitchFamily="34" charset="-122"/>
          <a:cs typeface="+mn-cs"/>
        </a:defRPr>
      </a:lvl3pPr>
      <a:lvl4pPr marL="1600200" indent="-228600" algn="l" defTabSz="457200" rtl="0" eaLnBrk="1" fontAlgn="base" hangingPunct="1">
        <a:spcBef>
          <a:spcPct val="20000"/>
        </a:spcBef>
        <a:spcAft>
          <a:spcPct val="0"/>
        </a:spcAft>
        <a:buSzPct val="75000"/>
        <a:buFont typeface="Arial" charset="0"/>
        <a:buChar char="•"/>
        <a:defRPr sz="2000" kern="1200">
          <a:solidFill>
            <a:srgbClr val="374957"/>
          </a:solidFill>
          <a:latin typeface="微软雅黑" pitchFamily="34" charset="-122"/>
          <a:ea typeface="微软雅黑" pitchFamily="34" charset="-122"/>
          <a:cs typeface="+mn-cs"/>
        </a:defRPr>
      </a:lvl4pPr>
      <a:lvl5pPr marL="2057400" indent="-228600" algn="l" defTabSz="457200" rtl="0" eaLnBrk="1" fontAlgn="base" hangingPunct="1">
        <a:spcBef>
          <a:spcPct val="20000"/>
        </a:spcBef>
        <a:spcAft>
          <a:spcPct val="0"/>
        </a:spcAft>
        <a:buSzPct val="75000"/>
        <a:buFont typeface="Arial" charset="0"/>
        <a:buChar char="•"/>
        <a:defRPr sz="1600" kern="1200">
          <a:solidFill>
            <a:srgbClr val="374957"/>
          </a:solidFill>
          <a:latin typeface="微软雅黑" pitchFamily="34" charset="-122"/>
          <a:ea typeface="微软雅黑" pitchFamily="34" charset="-122"/>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032221"/>
      </p:ext>
    </p:extLst>
  </p:cSld>
  <p:clrMap bg1="lt1" tx1="dk1" bg2="lt2" tx2="dk2" accent1="accent1" accent2="accent2" accent3="accent3" accent4="accent4" accent5="accent5" accent6="accent6" hlink="hlink" folHlink="folHlink"/>
  <p:sldLayoutIdLst>
    <p:sldLayoutId id="2147483843" r:id="rId1"/>
  </p:sldLayoutIdLst>
  <p:timing>
    <p:tnLst>
      <p:par>
        <p:cTn xmlns:p14="http://schemas.microsoft.com/office/powerpoint/2010/mai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335"/>
          <p:cNvCxnSpPr/>
          <p:nvPr/>
        </p:nvCxnSpPr>
        <p:spPr>
          <a:xfrm rot="16200000">
            <a:off x="4356894" y="3928919"/>
            <a:ext cx="538163" cy="0"/>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grpSp>
        <p:nvGrpSpPr>
          <p:cNvPr id="8" name="Group 348"/>
          <p:cNvGrpSpPr>
            <a:grpSpLocks/>
          </p:cNvGrpSpPr>
          <p:nvPr/>
        </p:nvGrpSpPr>
        <p:grpSpPr bwMode="auto">
          <a:xfrm>
            <a:off x="2582863" y="3646740"/>
            <a:ext cx="2051050" cy="215504"/>
            <a:chOff x="2077120" y="4859661"/>
            <a:chExt cx="2050009" cy="288575"/>
          </a:xfrm>
        </p:grpSpPr>
        <p:sp>
          <p:nvSpPr>
            <p:cNvPr id="9" name="Freeform 6"/>
            <p:cNvSpPr>
              <a:spLocks noEditPoints="1"/>
            </p:cNvSpPr>
            <p:nvPr>
              <p:custDataLst>
                <p:tags r:id="rId10"/>
              </p:custDataLst>
            </p:nvPr>
          </p:nvSpPr>
          <p:spPr bwMode="auto">
            <a:xfrm>
              <a:off x="2077120" y="4859661"/>
              <a:ext cx="290365" cy="288575"/>
            </a:xfrm>
            <a:custGeom>
              <a:avLst/>
              <a:gdLst>
                <a:gd name="T0" fmla="*/ 1285 w 2772"/>
                <a:gd name="T1" fmla="*/ 205 h 2759"/>
                <a:gd name="T2" fmla="*/ 1485 w 2772"/>
                <a:gd name="T3" fmla="*/ 195 h 2759"/>
                <a:gd name="T4" fmla="*/ 2533 w 2772"/>
                <a:gd name="T5" fmla="*/ 616 h 2759"/>
                <a:gd name="T6" fmla="*/ 2366 w 2772"/>
                <a:gd name="T7" fmla="*/ 2357 h 2759"/>
                <a:gd name="T8" fmla="*/ 1023 w 2772"/>
                <a:gd name="T9" fmla="*/ 2708 h 2759"/>
                <a:gd name="T10" fmla="*/ 45 w 2772"/>
                <a:gd name="T11" fmla="*/ 1742 h 2759"/>
                <a:gd name="T12" fmla="*/ 292 w 2772"/>
                <a:gd name="T13" fmla="*/ 534 h 2759"/>
                <a:gd name="T14" fmla="*/ 1142 w 2772"/>
                <a:gd name="T15" fmla="*/ 21 h 2759"/>
                <a:gd name="T16" fmla="*/ 2158 w 2772"/>
                <a:gd name="T17" fmla="*/ 302 h 2759"/>
                <a:gd name="T18" fmla="*/ 702 w 2772"/>
                <a:gd name="T19" fmla="*/ 244 h 2759"/>
                <a:gd name="T20" fmla="*/ 364 w 2772"/>
                <a:gd name="T21" fmla="*/ 534 h 2759"/>
                <a:gd name="T22" fmla="*/ 266 w 2772"/>
                <a:gd name="T23" fmla="*/ 1264 h 2759"/>
                <a:gd name="T24" fmla="*/ 55 w 2772"/>
                <a:gd name="T25" fmla="*/ 1418 h 2759"/>
                <a:gd name="T26" fmla="*/ 1323 w 2772"/>
                <a:gd name="T27" fmla="*/ 2705 h 2759"/>
                <a:gd name="T28" fmla="*/ 2580 w 2772"/>
                <a:gd name="T29" fmla="*/ 1968 h 2759"/>
                <a:gd name="T30" fmla="*/ 2611 w 2772"/>
                <a:gd name="T31" fmla="*/ 1678 h 2759"/>
                <a:gd name="T32" fmla="*/ 2605 w 2772"/>
                <a:gd name="T33" fmla="*/ 1008 h 2759"/>
                <a:gd name="T34" fmla="*/ 2692 w 2772"/>
                <a:gd name="T35" fmla="*/ 1488 h 2759"/>
                <a:gd name="T36" fmla="*/ 1696 w 2772"/>
                <a:gd name="T37" fmla="*/ 112 h 2759"/>
                <a:gd name="T38" fmla="*/ 1735 w 2772"/>
                <a:gd name="T39" fmla="*/ 159 h 2759"/>
                <a:gd name="T40" fmla="*/ 1707 w 2772"/>
                <a:gd name="T41" fmla="*/ 269 h 2759"/>
                <a:gd name="T42" fmla="*/ 2308 w 2772"/>
                <a:gd name="T43" fmla="*/ 642 h 2759"/>
                <a:gd name="T44" fmla="*/ 2588 w 2772"/>
                <a:gd name="T45" fmla="*/ 903 h 2759"/>
                <a:gd name="T46" fmla="*/ 2194 w 2772"/>
                <a:gd name="T47" fmla="*/ 728 h 2759"/>
                <a:gd name="T48" fmla="*/ 1726 w 2772"/>
                <a:gd name="T49" fmla="*/ 310 h 2759"/>
                <a:gd name="T50" fmla="*/ 1627 w 2772"/>
                <a:gd name="T51" fmla="*/ 295 h 2759"/>
                <a:gd name="T52" fmla="*/ 2070 w 2772"/>
                <a:gd name="T53" fmla="*/ 2496 h 2759"/>
                <a:gd name="T54" fmla="*/ 2480 w 2772"/>
                <a:gd name="T55" fmla="*/ 1784 h 2759"/>
                <a:gd name="T56" fmla="*/ 2399 w 2772"/>
                <a:gd name="T57" fmla="*/ 2180 h 2759"/>
                <a:gd name="T58" fmla="*/ 2054 w 2772"/>
                <a:gd name="T59" fmla="*/ 1566 h 2759"/>
                <a:gd name="T60" fmla="*/ 2130 w 2772"/>
                <a:gd name="T61" fmla="*/ 840 h 2759"/>
                <a:gd name="T62" fmla="*/ 2108 w 2772"/>
                <a:gd name="T63" fmla="*/ 711 h 2759"/>
                <a:gd name="T64" fmla="*/ 1906 w 2772"/>
                <a:gd name="T65" fmla="*/ 501 h 2759"/>
                <a:gd name="T66" fmla="*/ 1438 w 2772"/>
                <a:gd name="T67" fmla="*/ 288 h 2759"/>
                <a:gd name="T68" fmla="*/ 1414 w 2772"/>
                <a:gd name="T69" fmla="*/ 2483 h 2759"/>
                <a:gd name="T70" fmla="*/ 1979 w 2772"/>
                <a:gd name="T71" fmla="*/ 1980 h 2759"/>
                <a:gd name="T72" fmla="*/ 2035 w 2772"/>
                <a:gd name="T73" fmla="*/ 1690 h 2759"/>
                <a:gd name="T74" fmla="*/ 1984 w 2772"/>
                <a:gd name="T75" fmla="*/ 1425 h 2759"/>
                <a:gd name="T76" fmla="*/ 1801 w 2772"/>
                <a:gd name="T77" fmla="*/ 859 h 2759"/>
                <a:gd name="T78" fmla="*/ 1562 w 2772"/>
                <a:gd name="T79" fmla="*/ 407 h 2759"/>
                <a:gd name="T80" fmla="*/ 1180 w 2772"/>
                <a:gd name="T81" fmla="*/ 97 h 2759"/>
                <a:gd name="T82" fmla="*/ 1050 w 2772"/>
                <a:gd name="T83" fmla="*/ 188 h 2759"/>
                <a:gd name="T84" fmla="*/ 900 w 2772"/>
                <a:gd name="T85" fmla="*/ 234 h 2759"/>
                <a:gd name="T86" fmla="*/ 929 w 2772"/>
                <a:gd name="T87" fmla="*/ 265 h 2759"/>
                <a:gd name="T88" fmla="*/ 1001 w 2772"/>
                <a:gd name="T89" fmla="*/ 242 h 2759"/>
                <a:gd name="T90" fmla="*/ 739 w 2772"/>
                <a:gd name="T91" fmla="*/ 554 h 2759"/>
                <a:gd name="T92" fmla="*/ 207 w 2772"/>
                <a:gd name="T93" fmla="*/ 1031 h 2759"/>
                <a:gd name="T94" fmla="*/ 427 w 2772"/>
                <a:gd name="T95" fmla="*/ 549 h 2759"/>
                <a:gd name="T96" fmla="*/ 968 w 2772"/>
                <a:gd name="T97" fmla="*/ 605 h 2759"/>
                <a:gd name="T98" fmla="*/ 777 w 2772"/>
                <a:gd name="T99" fmla="*/ 871 h 2759"/>
                <a:gd name="T100" fmla="*/ 424 w 2772"/>
                <a:gd name="T101" fmla="*/ 1271 h 2759"/>
                <a:gd name="T102" fmla="*/ 258 w 2772"/>
                <a:gd name="T103" fmla="*/ 1401 h 2759"/>
                <a:gd name="T104" fmla="*/ 671 w 2772"/>
                <a:gd name="T105" fmla="*/ 1431 h 2759"/>
                <a:gd name="T106" fmla="*/ 342 w 2772"/>
                <a:gd name="T107" fmla="*/ 2162 h 2759"/>
                <a:gd name="T108" fmla="*/ 306 w 2772"/>
                <a:gd name="T109" fmla="*/ 1810 h 2759"/>
                <a:gd name="T110" fmla="*/ 501 w 2772"/>
                <a:gd name="T111" fmla="*/ 2305 h 2759"/>
                <a:gd name="T112" fmla="*/ 1138 w 2772"/>
                <a:gd name="T113" fmla="*/ 652 h 2759"/>
                <a:gd name="T114" fmla="*/ 1375 w 2772"/>
                <a:gd name="T115" fmla="*/ 984 h 2759"/>
                <a:gd name="T116" fmla="*/ 1299 w 2772"/>
                <a:gd name="T117" fmla="*/ 1500 h 2759"/>
                <a:gd name="T118" fmla="*/ 1206 w 2772"/>
                <a:gd name="T119" fmla="*/ 2002 h 2759"/>
                <a:gd name="T120" fmla="*/ 750 w 2772"/>
                <a:gd name="T121" fmla="*/ 2359 h 2759"/>
                <a:gd name="T122" fmla="*/ 740 w 2772"/>
                <a:gd name="T123" fmla="*/ 1977 h 2759"/>
                <a:gd name="T124" fmla="*/ 1107 w 2772"/>
                <a:gd name="T125" fmla="*/ 2469 h 2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2" h="2759">
                  <a:moveTo>
                    <a:pt x="1406" y="117"/>
                  </a:moveTo>
                  <a:lnTo>
                    <a:pt x="1417" y="119"/>
                  </a:lnTo>
                  <a:lnTo>
                    <a:pt x="1427" y="121"/>
                  </a:lnTo>
                  <a:lnTo>
                    <a:pt x="1433" y="113"/>
                  </a:lnTo>
                  <a:lnTo>
                    <a:pt x="1440" y="106"/>
                  </a:lnTo>
                  <a:lnTo>
                    <a:pt x="1447" y="99"/>
                  </a:lnTo>
                  <a:lnTo>
                    <a:pt x="1455" y="93"/>
                  </a:lnTo>
                  <a:lnTo>
                    <a:pt x="1472" y="83"/>
                  </a:lnTo>
                  <a:lnTo>
                    <a:pt x="1489" y="74"/>
                  </a:lnTo>
                  <a:lnTo>
                    <a:pt x="1468" y="71"/>
                  </a:lnTo>
                  <a:lnTo>
                    <a:pt x="1448" y="69"/>
                  </a:lnTo>
                  <a:lnTo>
                    <a:pt x="1427" y="68"/>
                  </a:lnTo>
                  <a:lnTo>
                    <a:pt x="1406" y="68"/>
                  </a:lnTo>
                  <a:lnTo>
                    <a:pt x="1406" y="117"/>
                  </a:lnTo>
                  <a:close/>
                  <a:moveTo>
                    <a:pt x="1387" y="147"/>
                  </a:moveTo>
                  <a:lnTo>
                    <a:pt x="1375" y="147"/>
                  </a:lnTo>
                  <a:lnTo>
                    <a:pt x="1365" y="148"/>
                  </a:lnTo>
                  <a:lnTo>
                    <a:pt x="1354" y="150"/>
                  </a:lnTo>
                  <a:lnTo>
                    <a:pt x="1344" y="152"/>
                  </a:lnTo>
                  <a:lnTo>
                    <a:pt x="1336" y="154"/>
                  </a:lnTo>
                  <a:lnTo>
                    <a:pt x="1328" y="157"/>
                  </a:lnTo>
                  <a:lnTo>
                    <a:pt x="1320" y="160"/>
                  </a:lnTo>
                  <a:lnTo>
                    <a:pt x="1313" y="163"/>
                  </a:lnTo>
                  <a:lnTo>
                    <a:pt x="1307" y="167"/>
                  </a:lnTo>
                  <a:lnTo>
                    <a:pt x="1301" y="172"/>
                  </a:lnTo>
                  <a:lnTo>
                    <a:pt x="1297" y="176"/>
                  </a:lnTo>
                  <a:lnTo>
                    <a:pt x="1293" y="181"/>
                  </a:lnTo>
                  <a:lnTo>
                    <a:pt x="1290" y="185"/>
                  </a:lnTo>
                  <a:lnTo>
                    <a:pt x="1288" y="190"/>
                  </a:lnTo>
                  <a:lnTo>
                    <a:pt x="1286" y="195"/>
                  </a:lnTo>
                  <a:lnTo>
                    <a:pt x="1285" y="199"/>
                  </a:lnTo>
                  <a:lnTo>
                    <a:pt x="1285" y="205"/>
                  </a:lnTo>
                  <a:lnTo>
                    <a:pt x="1286" y="210"/>
                  </a:lnTo>
                  <a:lnTo>
                    <a:pt x="1288" y="214"/>
                  </a:lnTo>
                  <a:lnTo>
                    <a:pt x="1290" y="219"/>
                  </a:lnTo>
                  <a:lnTo>
                    <a:pt x="1293" y="223"/>
                  </a:lnTo>
                  <a:lnTo>
                    <a:pt x="1297" y="228"/>
                  </a:lnTo>
                  <a:lnTo>
                    <a:pt x="1301" y="231"/>
                  </a:lnTo>
                  <a:lnTo>
                    <a:pt x="1307" y="236"/>
                  </a:lnTo>
                  <a:lnTo>
                    <a:pt x="1314" y="240"/>
                  </a:lnTo>
                  <a:lnTo>
                    <a:pt x="1321" y="242"/>
                  </a:lnTo>
                  <a:lnTo>
                    <a:pt x="1329" y="245"/>
                  </a:lnTo>
                  <a:lnTo>
                    <a:pt x="1338" y="248"/>
                  </a:lnTo>
                  <a:lnTo>
                    <a:pt x="1349" y="249"/>
                  </a:lnTo>
                  <a:lnTo>
                    <a:pt x="1359" y="251"/>
                  </a:lnTo>
                  <a:lnTo>
                    <a:pt x="1372" y="251"/>
                  </a:lnTo>
                  <a:lnTo>
                    <a:pt x="1384" y="251"/>
                  </a:lnTo>
                  <a:lnTo>
                    <a:pt x="1397" y="251"/>
                  </a:lnTo>
                  <a:lnTo>
                    <a:pt x="1408" y="250"/>
                  </a:lnTo>
                  <a:lnTo>
                    <a:pt x="1419" y="249"/>
                  </a:lnTo>
                  <a:lnTo>
                    <a:pt x="1429" y="246"/>
                  </a:lnTo>
                  <a:lnTo>
                    <a:pt x="1438" y="244"/>
                  </a:lnTo>
                  <a:lnTo>
                    <a:pt x="1448" y="242"/>
                  </a:lnTo>
                  <a:lnTo>
                    <a:pt x="1455" y="238"/>
                  </a:lnTo>
                  <a:lnTo>
                    <a:pt x="1461" y="235"/>
                  </a:lnTo>
                  <a:lnTo>
                    <a:pt x="1467" y="230"/>
                  </a:lnTo>
                  <a:lnTo>
                    <a:pt x="1472" y="227"/>
                  </a:lnTo>
                  <a:lnTo>
                    <a:pt x="1476" y="222"/>
                  </a:lnTo>
                  <a:lnTo>
                    <a:pt x="1480" y="218"/>
                  </a:lnTo>
                  <a:lnTo>
                    <a:pt x="1482" y="213"/>
                  </a:lnTo>
                  <a:lnTo>
                    <a:pt x="1485" y="208"/>
                  </a:lnTo>
                  <a:lnTo>
                    <a:pt x="1486" y="204"/>
                  </a:lnTo>
                  <a:lnTo>
                    <a:pt x="1486" y="199"/>
                  </a:lnTo>
                  <a:lnTo>
                    <a:pt x="1485" y="195"/>
                  </a:lnTo>
                  <a:lnTo>
                    <a:pt x="1483" y="189"/>
                  </a:lnTo>
                  <a:lnTo>
                    <a:pt x="1481" y="184"/>
                  </a:lnTo>
                  <a:lnTo>
                    <a:pt x="1479" y="180"/>
                  </a:lnTo>
                  <a:lnTo>
                    <a:pt x="1475" y="175"/>
                  </a:lnTo>
                  <a:lnTo>
                    <a:pt x="1471" y="172"/>
                  </a:lnTo>
                  <a:lnTo>
                    <a:pt x="1465" y="167"/>
                  </a:lnTo>
                  <a:lnTo>
                    <a:pt x="1459" y="163"/>
                  </a:lnTo>
                  <a:lnTo>
                    <a:pt x="1452" y="160"/>
                  </a:lnTo>
                  <a:lnTo>
                    <a:pt x="1445" y="157"/>
                  </a:lnTo>
                  <a:lnTo>
                    <a:pt x="1437" y="154"/>
                  </a:lnTo>
                  <a:lnTo>
                    <a:pt x="1429" y="152"/>
                  </a:lnTo>
                  <a:lnTo>
                    <a:pt x="1419" y="150"/>
                  </a:lnTo>
                  <a:lnTo>
                    <a:pt x="1408" y="148"/>
                  </a:lnTo>
                  <a:lnTo>
                    <a:pt x="1398" y="147"/>
                  </a:lnTo>
                  <a:lnTo>
                    <a:pt x="1387" y="147"/>
                  </a:lnTo>
                  <a:close/>
                  <a:moveTo>
                    <a:pt x="1387" y="0"/>
                  </a:moveTo>
                  <a:lnTo>
                    <a:pt x="1476" y="3"/>
                  </a:lnTo>
                  <a:lnTo>
                    <a:pt x="1565" y="11"/>
                  </a:lnTo>
                  <a:lnTo>
                    <a:pt x="1652" y="26"/>
                  </a:lnTo>
                  <a:lnTo>
                    <a:pt x="1736" y="46"/>
                  </a:lnTo>
                  <a:lnTo>
                    <a:pt x="1817" y="70"/>
                  </a:lnTo>
                  <a:lnTo>
                    <a:pt x="1898" y="99"/>
                  </a:lnTo>
                  <a:lnTo>
                    <a:pt x="1975" y="134"/>
                  </a:lnTo>
                  <a:lnTo>
                    <a:pt x="2050" y="172"/>
                  </a:lnTo>
                  <a:lnTo>
                    <a:pt x="2122" y="214"/>
                  </a:lnTo>
                  <a:lnTo>
                    <a:pt x="2191" y="261"/>
                  </a:lnTo>
                  <a:lnTo>
                    <a:pt x="2256" y="312"/>
                  </a:lnTo>
                  <a:lnTo>
                    <a:pt x="2319" y="366"/>
                  </a:lnTo>
                  <a:lnTo>
                    <a:pt x="2377" y="424"/>
                  </a:lnTo>
                  <a:lnTo>
                    <a:pt x="2433" y="485"/>
                  </a:lnTo>
                  <a:lnTo>
                    <a:pt x="2484" y="549"/>
                  </a:lnTo>
                  <a:lnTo>
                    <a:pt x="2533" y="616"/>
                  </a:lnTo>
                  <a:lnTo>
                    <a:pt x="2577" y="685"/>
                  </a:lnTo>
                  <a:lnTo>
                    <a:pt x="2617" y="758"/>
                  </a:lnTo>
                  <a:lnTo>
                    <a:pt x="2653" y="832"/>
                  </a:lnTo>
                  <a:lnTo>
                    <a:pt x="2684" y="908"/>
                  </a:lnTo>
                  <a:lnTo>
                    <a:pt x="2711" y="986"/>
                  </a:lnTo>
                  <a:lnTo>
                    <a:pt x="2733" y="1066"/>
                  </a:lnTo>
                  <a:lnTo>
                    <a:pt x="2751" y="1147"/>
                  </a:lnTo>
                  <a:lnTo>
                    <a:pt x="2763" y="1229"/>
                  </a:lnTo>
                  <a:lnTo>
                    <a:pt x="2770" y="1313"/>
                  </a:lnTo>
                  <a:lnTo>
                    <a:pt x="2772" y="1397"/>
                  </a:lnTo>
                  <a:lnTo>
                    <a:pt x="2769" y="1483"/>
                  </a:lnTo>
                  <a:lnTo>
                    <a:pt x="2761" y="1568"/>
                  </a:lnTo>
                  <a:lnTo>
                    <a:pt x="2746" y="1653"/>
                  </a:lnTo>
                  <a:lnTo>
                    <a:pt x="2726" y="1738"/>
                  </a:lnTo>
                  <a:lnTo>
                    <a:pt x="2700" y="1824"/>
                  </a:lnTo>
                  <a:lnTo>
                    <a:pt x="2668" y="1909"/>
                  </a:lnTo>
                  <a:lnTo>
                    <a:pt x="2654" y="1940"/>
                  </a:lnTo>
                  <a:lnTo>
                    <a:pt x="2640" y="1971"/>
                  </a:lnTo>
                  <a:lnTo>
                    <a:pt x="2625" y="2002"/>
                  </a:lnTo>
                  <a:lnTo>
                    <a:pt x="2609" y="2032"/>
                  </a:lnTo>
                  <a:lnTo>
                    <a:pt x="2593" y="2062"/>
                  </a:lnTo>
                  <a:lnTo>
                    <a:pt x="2575" y="2091"/>
                  </a:lnTo>
                  <a:lnTo>
                    <a:pt x="2557" y="2120"/>
                  </a:lnTo>
                  <a:lnTo>
                    <a:pt x="2539" y="2149"/>
                  </a:lnTo>
                  <a:lnTo>
                    <a:pt x="2519" y="2176"/>
                  </a:lnTo>
                  <a:lnTo>
                    <a:pt x="2499" y="2204"/>
                  </a:lnTo>
                  <a:lnTo>
                    <a:pt x="2479" y="2230"/>
                  </a:lnTo>
                  <a:lnTo>
                    <a:pt x="2457" y="2257"/>
                  </a:lnTo>
                  <a:lnTo>
                    <a:pt x="2435" y="2283"/>
                  </a:lnTo>
                  <a:lnTo>
                    <a:pt x="2412" y="2309"/>
                  </a:lnTo>
                  <a:lnTo>
                    <a:pt x="2389" y="2333"/>
                  </a:lnTo>
                  <a:lnTo>
                    <a:pt x="2366" y="2357"/>
                  </a:lnTo>
                  <a:lnTo>
                    <a:pt x="2342" y="2381"/>
                  </a:lnTo>
                  <a:lnTo>
                    <a:pt x="2316" y="2404"/>
                  </a:lnTo>
                  <a:lnTo>
                    <a:pt x="2291" y="2426"/>
                  </a:lnTo>
                  <a:lnTo>
                    <a:pt x="2264" y="2448"/>
                  </a:lnTo>
                  <a:lnTo>
                    <a:pt x="2238" y="2470"/>
                  </a:lnTo>
                  <a:lnTo>
                    <a:pt x="2211" y="2490"/>
                  </a:lnTo>
                  <a:lnTo>
                    <a:pt x="2184" y="2510"/>
                  </a:lnTo>
                  <a:lnTo>
                    <a:pt x="2156" y="2529"/>
                  </a:lnTo>
                  <a:lnTo>
                    <a:pt x="2127" y="2547"/>
                  </a:lnTo>
                  <a:lnTo>
                    <a:pt x="2099" y="2566"/>
                  </a:lnTo>
                  <a:lnTo>
                    <a:pt x="2069" y="2583"/>
                  </a:lnTo>
                  <a:lnTo>
                    <a:pt x="2039" y="2599"/>
                  </a:lnTo>
                  <a:lnTo>
                    <a:pt x="2009" y="2615"/>
                  </a:lnTo>
                  <a:lnTo>
                    <a:pt x="1978" y="2630"/>
                  </a:lnTo>
                  <a:lnTo>
                    <a:pt x="1946" y="2644"/>
                  </a:lnTo>
                  <a:lnTo>
                    <a:pt x="1915" y="2658"/>
                  </a:lnTo>
                  <a:lnTo>
                    <a:pt x="1861" y="2679"/>
                  </a:lnTo>
                  <a:lnTo>
                    <a:pt x="1806" y="2697"/>
                  </a:lnTo>
                  <a:lnTo>
                    <a:pt x="1751" y="2713"/>
                  </a:lnTo>
                  <a:lnTo>
                    <a:pt x="1694" y="2727"/>
                  </a:lnTo>
                  <a:lnTo>
                    <a:pt x="1638" y="2738"/>
                  </a:lnTo>
                  <a:lnTo>
                    <a:pt x="1582" y="2748"/>
                  </a:lnTo>
                  <a:lnTo>
                    <a:pt x="1526" y="2753"/>
                  </a:lnTo>
                  <a:lnTo>
                    <a:pt x="1468" y="2758"/>
                  </a:lnTo>
                  <a:lnTo>
                    <a:pt x="1412" y="2759"/>
                  </a:lnTo>
                  <a:lnTo>
                    <a:pt x="1355" y="2759"/>
                  </a:lnTo>
                  <a:lnTo>
                    <a:pt x="1299" y="2756"/>
                  </a:lnTo>
                  <a:lnTo>
                    <a:pt x="1244" y="2751"/>
                  </a:lnTo>
                  <a:lnTo>
                    <a:pt x="1187" y="2744"/>
                  </a:lnTo>
                  <a:lnTo>
                    <a:pt x="1132" y="2734"/>
                  </a:lnTo>
                  <a:lnTo>
                    <a:pt x="1077" y="2722"/>
                  </a:lnTo>
                  <a:lnTo>
                    <a:pt x="1023" y="2708"/>
                  </a:lnTo>
                  <a:lnTo>
                    <a:pt x="968" y="2693"/>
                  </a:lnTo>
                  <a:lnTo>
                    <a:pt x="915" y="2675"/>
                  </a:lnTo>
                  <a:lnTo>
                    <a:pt x="864" y="2655"/>
                  </a:lnTo>
                  <a:lnTo>
                    <a:pt x="812" y="2634"/>
                  </a:lnTo>
                  <a:lnTo>
                    <a:pt x="761" y="2609"/>
                  </a:lnTo>
                  <a:lnTo>
                    <a:pt x="710" y="2583"/>
                  </a:lnTo>
                  <a:lnTo>
                    <a:pt x="662" y="2555"/>
                  </a:lnTo>
                  <a:lnTo>
                    <a:pt x="615" y="2526"/>
                  </a:lnTo>
                  <a:lnTo>
                    <a:pt x="568" y="2494"/>
                  </a:lnTo>
                  <a:lnTo>
                    <a:pt x="523" y="2461"/>
                  </a:lnTo>
                  <a:lnTo>
                    <a:pt x="479" y="2426"/>
                  </a:lnTo>
                  <a:lnTo>
                    <a:pt x="436" y="2388"/>
                  </a:lnTo>
                  <a:lnTo>
                    <a:pt x="396" y="2350"/>
                  </a:lnTo>
                  <a:lnTo>
                    <a:pt x="356" y="2310"/>
                  </a:lnTo>
                  <a:lnTo>
                    <a:pt x="318" y="2267"/>
                  </a:lnTo>
                  <a:lnTo>
                    <a:pt x="282" y="2223"/>
                  </a:lnTo>
                  <a:lnTo>
                    <a:pt x="261" y="2197"/>
                  </a:lnTo>
                  <a:lnTo>
                    <a:pt x="242" y="2169"/>
                  </a:lnTo>
                  <a:lnTo>
                    <a:pt x="222" y="2142"/>
                  </a:lnTo>
                  <a:lnTo>
                    <a:pt x="203" y="2113"/>
                  </a:lnTo>
                  <a:lnTo>
                    <a:pt x="186" y="2084"/>
                  </a:lnTo>
                  <a:lnTo>
                    <a:pt x="170" y="2055"/>
                  </a:lnTo>
                  <a:lnTo>
                    <a:pt x="154" y="2025"/>
                  </a:lnTo>
                  <a:lnTo>
                    <a:pt x="139" y="1995"/>
                  </a:lnTo>
                  <a:lnTo>
                    <a:pt x="124" y="1964"/>
                  </a:lnTo>
                  <a:lnTo>
                    <a:pt x="110" y="1933"/>
                  </a:lnTo>
                  <a:lnTo>
                    <a:pt x="98" y="1902"/>
                  </a:lnTo>
                  <a:lnTo>
                    <a:pt x="86" y="1871"/>
                  </a:lnTo>
                  <a:lnTo>
                    <a:pt x="74" y="1839"/>
                  </a:lnTo>
                  <a:lnTo>
                    <a:pt x="64" y="1806"/>
                  </a:lnTo>
                  <a:lnTo>
                    <a:pt x="54" y="1774"/>
                  </a:lnTo>
                  <a:lnTo>
                    <a:pt x="45" y="1742"/>
                  </a:lnTo>
                  <a:lnTo>
                    <a:pt x="36" y="1710"/>
                  </a:lnTo>
                  <a:lnTo>
                    <a:pt x="30" y="1676"/>
                  </a:lnTo>
                  <a:lnTo>
                    <a:pt x="23" y="1643"/>
                  </a:lnTo>
                  <a:lnTo>
                    <a:pt x="17" y="1609"/>
                  </a:lnTo>
                  <a:lnTo>
                    <a:pt x="12" y="1576"/>
                  </a:lnTo>
                  <a:lnTo>
                    <a:pt x="9" y="1543"/>
                  </a:lnTo>
                  <a:lnTo>
                    <a:pt x="5" y="1509"/>
                  </a:lnTo>
                  <a:lnTo>
                    <a:pt x="3" y="1475"/>
                  </a:lnTo>
                  <a:lnTo>
                    <a:pt x="1" y="1441"/>
                  </a:lnTo>
                  <a:lnTo>
                    <a:pt x="0" y="1408"/>
                  </a:lnTo>
                  <a:lnTo>
                    <a:pt x="0" y="1373"/>
                  </a:lnTo>
                  <a:lnTo>
                    <a:pt x="1" y="1340"/>
                  </a:lnTo>
                  <a:lnTo>
                    <a:pt x="2" y="1305"/>
                  </a:lnTo>
                  <a:lnTo>
                    <a:pt x="4" y="1272"/>
                  </a:lnTo>
                  <a:lnTo>
                    <a:pt x="8" y="1238"/>
                  </a:lnTo>
                  <a:lnTo>
                    <a:pt x="12" y="1205"/>
                  </a:lnTo>
                  <a:lnTo>
                    <a:pt x="20" y="1149"/>
                  </a:lnTo>
                  <a:lnTo>
                    <a:pt x="32" y="1094"/>
                  </a:lnTo>
                  <a:lnTo>
                    <a:pt x="45" y="1039"/>
                  </a:lnTo>
                  <a:lnTo>
                    <a:pt x="59" y="985"/>
                  </a:lnTo>
                  <a:lnTo>
                    <a:pt x="77" y="932"/>
                  </a:lnTo>
                  <a:lnTo>
                    <a:pt x="96" y="879"/>
                  </a:lnTo>
                  <a:lnTo>
                    <a:pt x="118" y="827"/>
                  </a:lnTo>
                  <a:lnTo>
                    <a:pt x="142" y="775"/>
                  </a:lnTo>
                  <a:lnTo>
                    <a:pt x="168" y="726"/>
                  </a:lnTo>
                  <a:lnTo>
                    <a:pt x="195" y="676"/>
                  </a:lnTo>
                  <a:lnTo>
                    <a:pt x="210" y="652"/>
                  </a:lnTo>
                  <a:lnTo>
                    <a:pt x="227" y="628"/>
                  </a:lnTo>
                  <a:lnTo>
                    <a:pt x="242" y="604"/>
                  </a:lnTo>
                  <a:lnTo>
                    <a:pt x="258" y="581"/>
                  </a:lnTo>
                  <a:lnTo>
                    <a:pt x="275" y="557"/>
                  </a:lnTo>
                  <a:lnTo>
                    <a:pt x="292" y="534"/>
                  </a:lnTo>
                  <a:lnTo>
                    <a:pt x="311" y="513"/>
                  </a:lnTo>
                  <a:lnTo>
                    <a:pt x="328" y="491"/>
                  </a:lnTo>
                  <a:lnTo>
                    <a:pt x="347" y="469"/>
                  </a:lnTo>
                  <a:lnTo>
                    <a:pt x="367" y="447"/>
                  </a:lnTo>
                  <a:lnTo>
                    <a:pt x="387" y="426"/>
                  </a:lnTo>
                  <a:lnTo>
                    <a:pt x="406" y="405"/>
                  </a:lnTo>
                  <a:lnTo>
                    <a:pt x="406" y="405"/>
                  </a:lnTo>
                  <a:lnTo>
                    <a:pt x="432" y="381"/>
                  </a:lnTo>
                  <a:lnTo>
                    <a:pt x="457" y="357"/>
                  </a:lnTo>
                  <a:lnTo>
                    <a:pt x="482" y="334"/>
                  </a:lnTo>
                  <a:lnTo>
                    <a:pt x="509" y="312"/>
                  </a:lnTo>
                  <a:lnTo>
                    <a:pt x="535" y="290"/>
                  </a:lnTo>
                  <a:lnTo>
                    <a:pt x="563" y="269"/>
                  </a:lnTo>
                  <a:lnTo>
                    <a:pt x="589" y="250"/>
                  </a:lnTo>
                  <a:lnTo>
                    <a:pt x="617" y="230"/>
                  </a:lnTo>
                  <a:lnTo>
                    <a:pt x="646" y="212"/>
                  </a:lnTo>
                  <a:lnTo>
                    <a:pt x="674" y="195"/>
                  </a:lnTo>
                  <a:lnTo>
                    <a:pt x="702" y="177"/>
                  </a:lnTo>
                  <a:lnTo>
                    <a:pt x="732" y="161"/>
                  </a:lnTo>
                  <a:lnTo>
                    <a:pt x="761" y="146"/>
                  </a:lnTo>
                  <a:lnTo>
                    <a:pt x="791" y="131"/>
                  </a:lnTo>
                  <a:lnTo>
                    <a:pt x="821" y="117"/>
                  </a:lnTo>
                  <a:lnTo>
                    <a:pt x="852" y="104"/>
                  </a:lnTo>
                  <a:lnTo>
                    <a:pt x="883" y="91"/>
                  </a:lnTo>
                  <a:lnTo>
                    <a:pt x="914" y="79"/>
                  </a:lnTo>
                  <a:lnTo>
                    <a:pt x="945" y="69"/>
                  </a:lnTo>
                  <a:lnTo>
                    <a:pt x="978" y="59"/>
                  </a:lnTo>
                  <a:lnTo>
                    <a:pt x="1010" y="49"/>
                  </a:lnTo>
                  <a:lnTo>
                    <a:pt x="1043" y="41"/>
                  </a:lnTo>
                  <a:lnTo>
                    <a:pt x="1076" y="33"/>
                  </a:lnTo>
                  <a:lnTo>
                    <a:pt x="1109" y="26"/>
                  </a:lnTo>
                  <a:lnTo>
                    <a:pt x="1142" y="21"/>
                  </a:lnTo>
                  <a:lnTo>
                    <a:pt x="1177" y="15"/>
                  </a:lnTo>
                  <a:lnTo>
                    <a:pt x="1210" y="10"/>
                  </a:lnTo>
                  <a:lnTo>
                    <a:pt x="1245" y="7"/>
                  </a:lnTo>
                  <a:lnTo>
                    <a:pt x="1279" y="4"/>
                  </a:lnTo>
                  <a:lnTo>
                    <a:pt x="1315" y="2"/>
                  </a:lnTo>
                  <a:lnTo>
                    <a:pt x="1351" y="1"/>
                  </a:lnTo>
                  <a:lnTo>
                    <a:pt x="1387" y="0"/>
                  </a:lnTo>
                  <a:close/>
                  <a:moveTo>
                    <a:pt x="2327" y="446"/>
                  </a:moveTo>
                  <a:lnTo>
                    <a:pt x="2314" y="432"/>
                  </a:lnTo>
                  <a:lnTo>
                    <a:pt x="2319" y="447"/>
                  </a:lnTo>
                  <a:lnTo>
                    <a:pt x="2322" y="462"/>
                  </a:lnTo>
                  <a:lnTo>
                    <a:pt x="2325" y="477"/>
                  </a:lnTo>
                  <a:lnTo>
                    <a:pt x="2328" y="492"/>
                  </a:lnTo>
                  <a:lnTo>
                    <a:pt x="2352" y="511"/>
                  </a:lnTo>
                  <a:lnTo>
                    <a:pt x="2375" y="532"/>
                  </a:lnTo>
                  <a:lnTo>
                    <a:pt x="2398" y="553"/>
                  </a:lnTo>
                  <a:lnTo>
                    <a:pt x="2421" y="574"/>
                  </a:lnTo>
                  <a:lnTo>
                    <a:pt x="2443" y="596"/>
                  </a:lnTo>
                  <a:lnTo>
                    <a:pt x="2464" y="619"/>
                  </a:lnTo>
                  <a:lnTo>
                    <a:pt x="2484" y="642"/>
                  </a:lnTo>
                  <a:lnTo>
                    <a:pt x="2505" y="665"/>
                  </a:lnTo>
                  <a:lnTo>
                    <a:pt x="2486" y="636"/>
                  </a:lnTo>
                  <a:lnTo>
                    <a:pt x="2465" y="607"/>
                  </a:lnTo>
                  <a:lnTo>
                    <a:pt x="2444" y="578"/>
                  </a:lnTo>
                  <a:lnTo>
                    <a:pt x="2422" y="551"/>
                  </a:lnTo>
                  <a:lnTo>
                    <a:pt x="2399" y="523"/>
                  </a:lnTo>
                  <a:lnTo>
                    <a:pt x="2376" y="496"/>
                  </a:lnTo>
                  <a:lnTo>
                    <a:pt x="2352" y="470"/>
                  </a:lnTo>
                  <a:lnTo>
                    <a:pt x="2327" y="446"/>
                  </a:lnTo>
                  <a:close/>
                  <a:moveTo>
                    <a:pt x="2203" y="336"/>
                  </a:moveTo>
                  <a:lnTo>
                    <a:pt x="2181" y="320"/>
                  </a:lnTo>
                  <a:lnTo>
                    <a:pt x="2158" y="302"/>
                  </a:lnTo>
                  <a:lnTo>
                    <a:pt x="2134" y="284"/>
                  </a:lnTo>
                  <a:lnTo>
                    <a:pt x="2109" y="267"/>
                  </a:lnTo>
                  <a:lnTo>
                    <a:pt x="2084" y="250"/>
                  </a:lnTo>
                  <a:lnTo>
                    <a:pt x="2058" y="235"/>
                  </a:lnTo>
                  <a:lnTo>
                    <a:pt x="2033" y="222"/>
                  </a:lnTo>
                  <a:lnTo>
                    <a:pt x="2008" y="212"/>
                  </a:lnTo>
                  <a:lnTo>
                    <a:pt x="2018" y="223"/>
                  </a:lnTo>
                  <a:lnTo>
                    <a:pt x="2029" y="237"/>
                  </a:lnTo>
                  <a:lnTo>
                    <a:pt x="2039" y="251"/>
                  </a:lnTo>
                  <a:lnTo>
                    <a:pt x="2048" y="265"/>
                  </a:lnTo>
                  <a:lnTo>
                    <a:pt x="2055" y="280"/>
                  </a:lnTo>
                  <a:lnTo>
                    <a:pt x="2062" y="295"/>
                  </a:lnTo>
                  <a:lnTo>
                    <a:pt x="2067" y="310"/>
                  </a:lnTo>
                  <a:lnTo>
                    <a:pt x="2071" y="327"/>
                  </a:lnTo>
                  <a:lnTo>
                    <a:pt x="2097" y="340"/>
                  </a:lnTo>
                  <a:lnTo>
                    <a:pt x="2123" y="354"/>
                  </a:lnTo>
                  <a:lnTo>
                    <a:pt x="2148" y="369"/>
                  </a:lnTo>
                  <a:lnTo>
                    <a:pt x="2173" y="384"/>
                  </a:lnTo>
                  <a:lnTo>
                    <a:pt x="2199" y="400"/>
                  </a:lnTo>
                  <a:lnTo>
                    <a:pt x="2224" y="416"/>
                  </a:lnTo>
                  <a:lnTo>
                    <a:pt x="2248" y="432"/>
                  </a:lnTo>
                  <a:lnTo>
                    <a:pt x="2271" y="449"/>
                  </a:lnTo>
                  <a:lnTo>
                    <a:pt x="2266" y="434"/>
                  </a:lnTo>
                  <a:lnTo>
                    <a:pt x="2259" y="418"/>
                  </a:lnTo>
                  <a:lnTo>
                    <a:pt x="2252" y="403"/>
                  </a:lnTo>
                  <a:lnTo>
                    <a:pt x="2244" y="389"/>
                  </a:lnTo>
                  <a:lnTo>
                    <a:pt x="2234" y="375"/>
                  </a:lnTo>
                  <a:lnTo>
                    <a:pt x="2224" y="362"/>
                  </a:lnTo>
                  <a:lnTo>
                    <a:pt x="2214" y="349"/>
                  </a:lnTo>
                  <a:lnTo>
                    <a:pt x="2203" y="336"/>
                  </a:lnTo>
                  <a:close/>
                  <a:moveTo>
                    <a:pt x="740" y="223"/>
                  </a:moveTo>
                  <a:lnTo>
                    <a:pt x="702" y="244"/>
                  </a:lnTo>
                  <a:lnTo>
                    <a:pt x="663" y="266"/>
                  </a:lnTo>
                  <a:lnTo>
                    <a:pt x="645" y="278"/>
                  </a:lnTo>
                  <a:lnTo>
                    <a:pt x="625" y="290"/>
                  </a:lnTo>
                  <a:lnTo>
                    <a:pt x="607" y="303"/>
                  </a:lnTo>
                  <a:lnTo>
                    <a:pt x="589" y="316"/>
                  </a:lnTo>
                  <a:lnTo>
                    <a:pt x="572" y="329"/>
                  </a:lnTo>
                  <a:lnTo>
                    <a:pt x="556" y="344"/>
                  </a:lnTo>
                  <a:lnTo>
                    <a:pt x="541" y="359"/>
                  </a:lnTo>
                  <a:lnTo>
                    <a:pt x="526" y="377"/>
                  </a:lnTo>
                  <a:lnTo>
                    <a:pt x="513" y="394"/>
                  </a:lnTo>
                  <a:lnTo>
                    <a:pt x="503" y="412"/>
                  </a:lnTo>
                  <a:lnTo>
                    <a:pt x="493" y="432"/>
                  </a:lnTo>
                  <a:lnTo>
                    <a:pt x="486" y="453"/>
                  </a:lnTo>
                  <a:lnTo>
                    <a:pt x="509" y="435"/>
                  </a:lnTo>
                  <a:lnTo>
                    <a:pt x="534" y="419"/>
                  </a:lnTo>
                  <a:lnTo>
                    <a:pt x="558" y="402"/>
                  </a:lnTo>
                  <a:lnTo>
                    <a:pt x="584" y="387"/>
                  </a:lnTo>
                  <a:lnTo>
                    <a:pt x="609" y="371"/>
                  </a:lnTo>
                  <a:lnTo>
                    <a:pt x="634" y="356"/>
                  </a:lnTo>
                  <a:lnTo>
                    <a:pt x="660" y="342"/>
                  </a:lnTo>
                  <a:lnTo>
                    <a:pt x="686" y="328"/>
                  </a:lnTo>
                  <a:lnTo>
                    <a:pt x="690" y="313"/>
                  </a:lnTo>
                  <a:lnTo>
                    <a:pt x="694" y="299"/>
                  </a:lnTo>
                  <a:lnTo>
                    <a:pt x="700" y="286"/>
                  </a:lnTo>
                  <a:lnTo>
                    <a:pt x="707" y="272"/>
                  </a:lnTo>
                  <a:lnTo>
                    <a:pt x="714" y="259"/>
                  </a:lnTo>
                  <a:lnTo>
                    <a:pt x="722" y="246"/>
                  </a:lnTo>
                  <a:lnTo>
                    <a:pt x="731" y="235"/>
                  </a:lnTo>
                  <a:lnTo>
                    <a:pt x="740" y="223"/>
                  </a:lnTo>
                  <a:close/>
                  <a:moveTo>
                    <a:pt x="439" y="453"/>
                  </a:moveTo>
                  <a:lnTo>
                    <a:pt x="400" y="493"/>
                  </a:lnTo>
                  <a:lnTo>
                    <a:pt x="364" y="534"/>
                  </a:lnTo>
                  <a:lnTo>
                    <a:pt x="346" y="555"/>
                  </a:lnTo>
                  <a:lnTo>
                    <a:pt x="329" y="577"/>
                  </a:lnTo>
                  <a:lnTo>
                    <a:pt x="312" y="599"/>
                  </a:lnTo>
                  <a:lnTo>
                    <a:pt x="296" y="622"/>
                  </a:lnTo>
                  <a:lnTo>
                    <a:pt x="328" y="589"/>
                  </a:lnTo>
                  <a:lnTo>
                    <a:pt x="361" y="556"/>
                  </a:lnTo>
                  <a:lnTo>
                    <a:pt x="395" y="525"/>
                  </a:lnTo>
                  <a:lnTo>
                    <a:pt x="429" y="496"/>
                  </a:lnTo>
                  <a:lnTo>
                    <a:pt x="432" y="485"/>
                  </a:lnTo>
                  <a:lnTo>
                    <a:pt x="433" y="475"/>
                  </a:lnTo>
                  <a:lnTo>
                    <a:pt x="435" y="463"/>
                  </a:lnTo>
                  <a:lnTo>
                    <a:pt x="439" y="453"/>
                  </a:lnTo>
                  <a:close/>
                  <a:moveTo>
                    <a:pt x="57" y="1450"/>
                  </a:moveTo>
                  <a:lnTo>
                    <a:pt x="65" y="1478"/>
                  </a:lnTo>
                  <a:lnTo>
                    <a:pt x="74" y="1506"/>
                  </a:lnTo>
                  <a:lnTo>
                    <a:pt x="87" y="1531"/>
                  </a:lnTo>
                  <a:lnTo>
                    <a:pt x="100" y="1556"/>
                  </a:lnTo>
                  <a:lnTo>
                    <a:pt x="115" y="1581"/>
                  </a:lnTo>
                  <a:lnTo>
                    <a:pt x="131" y="1605"/>
                  </a:lnTo>
                  <a:lnTo>
                    <a:pt x="149" y="1627"/>
                  </a:lnTo>
                  <a:lnTo>
                    <a:pt x="168" y="1649"/>
                  </a:lnTo>
                  <a:lnTo>
                    <a:pt x="171" y="1620"/>
                  </a:lnTo>
                  <a:lnTo>
                    <a:pt x="175" y="1592"/>
                  </a:lnTo>
                  <a:lnTo>
                    <a:pt x="179" y="1563"/>
                  </a:lnTo>
                  <a:lnTo>
                    <a:pt x="184" y="1536"/>
                  </a:lnTo>
                  <a:lnTo>
                    <a:pt x="190" y="1508"/>
                  </a:lnTo>
                  <a:lnTo>
                    <a:pt x="195" y="1480"/>
                  </a:lnTo>
                  <a:lnTo>
                    <a:pt x="202" y="1453"/>
                  </a:lnTo>
                  <a:lnTo>
                    <a:pt x="210" y="1425"/>
                  </a:lnTo>
                  <a:lnTo>
                    <a:pt x="227" y="1371"/>
                  </a:lnTo>
                  <a:lnTo>
                    <a:pt x="245" y="1317"/>
                  </a:lnTo>
                  <a:lnTo>
                    <a:pt x="266" y="1264"/>
                  </a:lnTo>
                  <a:lnTo>
                    <a:pt x="288" y="1211"/>
                  </a:lnTo>
                  <a:lnTo>
                    <a:pt x="273" y="1197"/>
                  </a:lnTo>
                  <a:lnTo>
                    <a:pt x="259" y="1182"/>
                  </a:lnTo>
                  <a:lnTo>
                    <a:pt x="246" y="1167"/>
                  </a:lnTo>
                  <a:lnTo>
                    <a:pt x="233" y="1151"/>
                  </a:lnTo>
                  <a:lnTo>
                    <a:pt x="222" y="1135"/>
                  </a:lnTo>
                  <a:lnTo>
                    <a:pt x="210" y="1119"/>
                  </a:lnTo>
                  <a:lnTo>
                    <a:pt x="199" y="1101"/>
                  </a:lnTo>
                  <a:lnTo>
                    <a:pt x="190" y="1084"/>
                  </a:lnTo>
                  <a:lnTo>
                    <a:pt x="180" y="1067"/>
                  </a:lnTo>
                  <a:lnTo>
                    <a:pt x="171" y="1048"/>
                  </a:lnTo>
                  <a:lnTo>
                    <a:pt x="163" y="1030"/>
                  </a:lnTo>
                  <a:lnTo>
                    <a:pt x="156" y="1011"/>
                  </a:lnTo>
                  <a:lnTo>
                    <a:pt x="151" y="992"/>
                  </a:lnTo>
                  <a:lnTo>
                    <a:pt x="145" y="972"/>
                  </a:lnTo>
                  <a:lnTo>
                    <a:pt x="141" y="953"/>
                  </a:lnTo>
                  <a:lnTo>
                    <a:pt x="138" y="933"/>
                  </a:lnTo>
                  <a:lnTo>
                    <a:pt x="125" y="963"/>
                  </a:lnTo>
                  <a:lnTo>
                    <a:pt x="114" y="993"/>
                  </a:lnTo>
                  <a:lnTo>
                    <a:pt x="103" y="1024"/>
                  </a:lnTo>
                  <a:lnTo>
                    <a:pt x="94" y="1056"/>
                  </a:lnTo>
                  <a:lnTo>
                    <a:pt x="86" y="1089"/>
                  </a:lnTo>
                  <a:lnTo>
                    <a:pt x="79" y="1121"/>
                  </a:lnTo>
                  <a:lnTo>
                    <a:pt x="72" y="1154"/>
                  </a:lnTo>
                  <a:lnTo>
                    <a:pt x="68" y="1187"/>
                  </a:lnTo>
                  <a:lnTo>
                    <a:pt x="63" y="1220"/>
                  </a:lnTo>
                  <a:lnTo>
                    <a:pt x="59" y="1253"/>
                  </a:lnTo>
                  <a:lnTo>
                    <a:pt x="57" y="1287"/>
                  </a:lnTo>
                  <a:lnTo>
                    <a:pt x="56" y="1320"/>
                  </a:lnTo>
                  <a:lnTo>
                    <a:pt x="55" y="1354"/>
                  </a:lnTo>
                  <a:lnTo>
                    <a:pt x="55" y="1386"/>
                  </a:lnTo>
                  <a:lnTo>
                    <a:pt x="55" y="1418"/>
                  </a:lnTo>
                  <a:lnTo>
                    <a:pt x="57" y="1450"/>
                  </a:lnTo>
                  <a:close/>
                  <a:moveTo>
                    <a:pt x="71" y="1586"/>
                  </a:moveTo>
                  <a:lnTo>
                    <a:pt x="79" y="1636"/>
                  </a:lnTo>
                  <a:lnTo>
                    <a:pt x="91" y="1685"/>
                  </a:lnTo>
                  <a:lnTo>
                    <a:pt x="102" y="1734"/>
                  </a:lnTo>
                  <a:lnTo>
                    <a:pt x="117" y="1781"/>
                  </a:lnTo>
                  <a:lnTo>
                    <a:pt x="133" y="1828"/>
                  </a:lnTo>
                  <a:lnTo>
                    <a:pt x="151" y="1875"/>
                  </a:lnTo>
                  <a:lnTo>
                    <a:pt x="170" y="1922"/>
                  </a:lnTo>
                  <a:lnTo>
                    <a:pt x="192" y="1967"/>
                  </a:lnTo>
                  <a:lnTo>
                    <a:pt x="184" y="1934"/>
                  </a:lnTo>
                  <a:lnTo>
                    <a:pt x="178" y="1901"/>
                  </a:lnTo>
                  <a:lnTo>
                    <a:pt x="172" y="1869"/>
                  </a:lnTo>
                  <a:lnTo>
                    <a:pt x="169" y="1835"/>
                  </a:lnTo>
                  <a:lnTo>
                    <a:pt x="165" y="1802"/>
                  </a:lnTo>
                  <a:lnTo>
                    <a:pt x="164" y="1768"/>
                  </a:lnTo>
                  <a:lnTo>
                    <a:pt x="164" y="1735"/>
                  </a:lnTo>
                  <a:lnTo>
                    <a:pt x="164" y="1702"/>
                  </a:lnTo>
                  <a:lnTo>
                    <a:pt x="139" y="1675"/>
                  </a:lnTo>
                  <a:lnTo>
                    <a:pt x="114" y="1647"/>
                  </a:lnTo>
                  <a:lnTo>
                    <a:pt x="102" y="1632"/>
                  </a:lnTo>
                  <a:lnTo>
                    <a:pt x="92" y="1617"/>
                  </a:lnTo>
                  <a:lnTo>
                    <a:pt x="80" y="1602"/>
                  </a:lnTo>
                  <a:lnTo>
                    <a:pt x="71" y="1586"/>
                  </a:lnTo>
                  <a:close/>
                  <a:moveTo>
                    <a:pt x="965" y="2638"/>
                  </a:moveTo>
                  <a:lnTo>
                    <a:pt x="1016" y="2654"/>
                  </a:lnTo>
                  <a:lnTo>
                    <a:pt x="1065" y="2668"/>
                  </a:lnTo>
                  <a:lnTo>
                    <a:pt x="1117" y="2680"/>
                  </a:lnTo>
                  <a:lnTo>
                    <a:pt x="1168" y="2689"/>
                  </a:lnTo>
                  <a:lnTo>
                    <a:pt x="1220" y="2696"/>
                  </a:lnTo>
                  <a:lnTo>
                    <a:pt x="1271" y="2702"/>
                  </a:lnTo>
                  <a:lnTo>
                    <a:pt x="1323" y="2705"/>
                  </a:lnTo>
                  <a:lnTo>
                    <a:pt x="1375" y="2706"/>
                  </a:lnTo>
                  <a:lnTo>
                    <a:pt x="1375" y="2703"/>
                  </a:lnTo>
                  <a:lnTo>
                    <a:pt x="1324" y="2700"/>
                  </a:lnTo>
                  <a:lnTo>
                    <a:pt x="1273" y="2697"/>
                  </a:lnTo>
                  <a:lnTo>
                    <a:pt x="1222" y="2692"/>
                  </a:lnTo>
                  <a:lnTo>
                    <a:pt x="1171" y="2685"/>
                  </a:lnTo>
                  <a:lnTo>
                    <a:pt x="1120" y="2676"/>
                  </a:lnTo>
                  <a:lnTo>
                    <a:pt x="1070" y="2666"/>
                  </a:lnTo>
                  <a:lnTo>
                    <a:pt x="1020" y="2654"/>
                  </a:lnTo>
                  <a:lnTo>
                    <a:pt x="971" y="2640"/>
                  </a:lnTo>
                  <a:lnTo>
                    <a:pt x="971" y="2640"/>
                  </a:lnTo>
                  <a:lnTo>
                    <a:pt x="965" y="2638"/>
                  </a:lnTo>
                  <a:close/>
                  <a:moveTo>
                    <a:pt x="1414" y="2706"/>
                  </a:moveTo>
                  <a:lnTo>
                    <a:pt x="1437" y="2706"/>
                  </a:lnTo>
                  <a:lnTo>
                    <a:pt x="1460" y="2705"/>
                  </a:lnTo>
                  <a:lnTo>
                    <a:pt x="1483" y="2703"/>
                  </a:lnTo>
                  <a:lnTo>
                    <a:pt x="1505" y="2702"/>
                  </a:lnTo>
                  <a:lnTo>
                    <a:pt x="1528" y="2699"/>
                  </a:lnTo>
                  <a:lnTo>
                    <a:pt x="1551" y="2697"/>
                  </a:lnTo>
                  <a:lnTo>
                    <a:pt x="1573" y="2693"/>
                  </a:lnTo>
                  <a:lnTo>
                    <a:pt x="1595" y="2690"/>
                  </a:lnTo>
                  <a:lnTo>
                    <a:pt x="1573" y="2693"/>
                  </a:lnTo>
                  <a:lnTo>
                    <a:pt x="1550" y="2696"/>
                  </a:lnTo>
                  <a:lnTo>
                    <a:pt x="1527" y="2698"/>
                  </a:lnTo>
                  <a:lnTo>
                    <a:pt x="1505" y="2699"/>
                  </a:lnTo>
                  <a:lnTo>
                    <a:pt x="1482" y="2700"/>
                  </a:lnTo>
                  <a:lnTo>
                    <a:pt x="1459" y="2702"/>
                  </a:lnTo>
                  <a:lnTo>
                    <a:pt x="1437" y="2703"/>
                  </a:lnTo>
                  <a:lnTo>
                    <a:pt x="1414" y="2703"/>
                  </a:lnTo>
                  <a:lnTo>
                    <a:pt x="1414" y="2706"/>
                  </a:lnTo>
                  <a:close/>
                  <a:moveTo>
                    <a:pt x="2567" y="1991"/>
                  </a:moveTo>
                  <a:lnTo>
                    <a:pt x="2580" y="1968"/>
                  </a:lnTo>
                  <a:lnTo>
                    <a:pt x="2593" y="1942"/>
                  </a:lnTo>
                  <a:lnTo>
                    <a:pt x="2607" y="1916"/>
                  </a:lnTo>
                  <a:lnTo>
                    <a:pt x="2619" y="1888"/>
                  </a:lnTo>
                  <a:lnTo>
                    <a:pt x="2632" y="1861"/>
                  </a:lnTo>
                  <a:lnTo>
                    <a:pt x="2642" y="1833"/>
                  </a:lnTo>
                  <a:lnTo>
                    <a:pt x="2647" y="1819"/>
                  </a:lnTo>
                  <a:lnTo>
                    <a:pt x="2650" y="1806"/>
                  </a:lnTo>
                  <a:lnTo>
                    <a:pt x="2653" y="1794"/>
                  </a:lnTo>
                  <a:lnTo>
                    <a:pt x="2655" y="1781"/>
                  </a:lnTo>
                  <a:lnTo>
                    <a:pt x="2655" y="1781"/>
                  </a:lnTo>
                  <a:lnTo>
                    <a:pt x="2655" y="1781"/>
                  </a:lnTo>
                  <a:lnTo>
                    <a:pt x="2655" y="1781"/>
                  </a:lnTo>
                  <a:lnTo>
                    <a:pt x="2655" y="1780"/>
                  </a:lnTo>
                  <a:lnTo>
                    <a:pt x="2655" y="1780"/>
                  </a:lnTo>
                  <a:lnTo>
                    <a:pt x="2655" y="1780"/>
                  </a:lnTo>
                  <a:lnTo>
                    <a:pt x="2656" y="1770"/>
                  </a:lnTo>
                  <a:lnTo>
                    <a:pt x="2658" y="1770"/>
                  </a:lnTo>
                  <a:lnTo>
                    <a:pt x="2666" y="1743"/>
                  </a:lnTo>
                  <a:lnTo>
                    <a:pt x="2675" y="1717"/>
                  </a:lnTo>
                  <a:lnTo>
                    <a:pt x="2681" y="1689"/>
                  </a:lnTo>
                  <a:lnTo>
                    <a:pt x="2687" y="1662"/>
                  </a:lnTo>
                  <a:lnTo>
                    <a:pt x="2693" y="1635"/>
                  </a:lnTo>
                  <a:lnTo>
                    <a:pt x="2698" y="1608"/>
                  </a:lnTo>
                  <a:lnTo>
                    <a:pt x="2702" y="1581"/>
                  </a:lnTo>
                  <a:lnTo>
                    <a:pt x="2706" y="1553"/>
                  </a:lnTo>
                  <a:lnTo>
                    <a:pt x="2695" y="1572"/>
                  </a:lnTo>
                  <a:lnTo>
                    <a:pt x="2683" y="1592"/>
                  </a:lnTo>
                  <a:lnTo>
                    <a:pt x="2670" y="1611"/>
                  </a:lnTo>
                  <a:lnTo>
                    <a:pt x="2656" y="1629"/>
                  </a:lnTo>
                  <a:lnTo>
                    <a:pt x="2642" y="1646"/>
                  </a:lnTo>
                  <a:lnTo>
                    <a:pt x="2627" y="1662"/>
                  </a:lnTo>
                  <a:lnTo>
                    <a:pt x="2611" y="1678"/>
                  </a:lnTo>
                  <a:lnTo>
                    <a:pt x="2595" y="1695"/>
                  </a:lnTo>
                  <a:lnTo>
                    <a:pt x="2596" y="1734"/>
                  </a:lnTo>
                  <a:lnTo>
                    <a:pt x="2596" y="1774"/>
                  </a:lnTo>
                  <a:lnTo>
                    <a:pt x="2594" y="1813"/>
                  </a:lnTo>
                  <a:lnTo>
                    <a:pt x="2590" y="1852"/>
                  </a:lnTo>
                  <a:lnTo>
                    <a:pt x="2586" y="1892"/>
                  </a:lnTo>
                  <a:lnTo>
                    <a:pt x="2579" y="1931"/>
                  </a:lnTo>
                  <a:lnTo>
                    <a:pt x="2570" y="1970"/>
                  </a:lnTo>
                  <a:lnTo>
                    <a:pt x="2558" y="2008"/>
                  </a:lnTo>
                  <a:lnTo>
                    <a:pt x="2563" y="1998"/>
                  </a:lnTo>
                  <a:lnTo>
                    <a:pt x="2567" y="1991"/>
                  </a:lnTo>
                  <a:close/>
                  <a:moveTo>
                    <a:pt x="2717" y="1381"/>
                  </a:moveTo>
                  <a:lnTo>
                    <a:pt x="2717" y="1351"/>
                  </a:lnTo>
                  <a:lnTo>
                    <a:pt x="2716" y="1321"/>
                  </a:lnTo>
                  <a:lnTo>
                    <a:pt x="2715" y="1293"/>
                  </a:lnTo>
                  <a:lnTo>
                    <a:pt x="2713" y="1264"/>
                  </a:lnTo>
                  <a:lnTo>
                    <a:pt x="2709" y="1235"/>
                  </a:lnTo>
                  <a:lnTo>
                    <a:pt x="2706" y="1206"/>
                  </a:lnTo>
                  <a:lnTo>
                    <a:pt x="2701" y="1177"/>
                  </a:lnTo>
                  <a:lnTo>
                    <a:pt x="2695" y="1149"/>
                  </a:lnTo>
                  <a:lnTo>
                    <a:pt x="2690" y="1120"/>
                  </a:lnTo>
                  <a:lnTo>
                    <a:pt x="2683" y="1092"/>
                  </a:lnTo>
                  <a:lnTo>
                    <a:pt x="2676" y="1064"/>
                  </a:lnTo>
                  <a:lnTo>
                    <a:pt x="2666" y="1037"/>
                  </a:lnTo>
                  <a:lnTo>
                    <a:pt x="2657" y="1009"/>
                  </a:lnTo>
                  <a:lnTo>
                    <a:pt x="2648" y="981"/>
                  </a:lnTo>
                  <a:lnTo>
                    <a:pt x="2637" y="954"/>
                  </a:lnTo>
                  <a:lnTo>
                    <a:pt x="2625" y="926"/>
                  </a:lnTo>
                  <a:lnTo>
                    <a:pt x="2622" y="947"/>
                  </a:lnTo>
                  <a:lnTo>
                    <a:pt x="2617" y="968"/>
                  </a:lnTo>
                  <a:lnTo>
                    <a:pt x="2612" y="988"/>
                  </a:lnTo>
                  <a:lnTo>
                    <a:pt x="2605" y="1008"/>
                  </a:lnTo>
                  <a:lnTo>
                    <a:pt x="2599" y="1028"/>
                  </a:lnTo>
                  <a:lnTo>
                    <a:pt x="2590" y="1046"/>
                  </a:lnTo>
                  <a:lnTo>
                    <a:pt x="2582" y="1064"/>
                  </a:lnTo>
                  <a:lnTo>
                    <a:pt x="2572" y="1083"/>
                  </a:lnTo>
                  <a:lnTo>
                    <a:pt x="2563" y="1101"/>
                  </a:lnTo>
                  <a:lnTo>
                    <a:pt x="2551" y="1119"/>
                  </a:lnTo>
                  <a:lnTo>
                    <a:pt x="2540" y="1136"/>
                  </a:lnTo>
                  <a:lnTo>
                    <a:pt x="2527" y="1152"/>
                  </a:lnTo>
                  <a:lnTo>
                    <a:pt x="2514" y="1168"/>
                  </a:lnTo>
                  <a:lnTo>
                    <a:pt x="2501" y="1184"/>
                  </a:lnTo>
                  <a:lnTo>
                    <a:pt x="2487" y="1199"/>
                  </a:lnTo>
                  <a:lnTo>
                    <a:pt x="2472" y="1214"/>
                  </a:lnTo>
                  <a:lnTo>
                    <a:pt x="2494" y="1266"/>
                  </a:lnTo>
                  <a:lnTo>
                    <a:pt x="2514" y="1318"/>
                  </a:lnTo>
                  <a:lnTo>
                    <a:pt x="2532" y="1371"/>
                  </a:lnTo>
                  <a:lnTo>
                    <a:pt x="2548" y="1424"/>
                  </a:lnTo>
                  <a:lnTo>
                    <a:pt x="2563" y="1478"/>
                  </a:lnTo>
                  <a:lnTo>
                    <a:pt x="2574" y="1532"/>
                  </a:lnTo>
                  <a:lnTo>
                    <a:pt x="2580" y="1560"/>
                  </a:lnTo>
                  <a:lnTo>
                    <a:pt x="2584" y="1587"/>
                  </a:lnTo>
                  <a:lnTo>
                    <a:pt x="2588" y="1615"/>
                  </a:lnTo>
                  <a:lnTo>
                    <a:pt x="2590" y="1643"/>
                  </a:lnTo>
                  <a:lnTo>
                    <a:pt x="2603" y="1629"/>
                  </a:lnTo>
                  <a:lnTo>
                    <a:pt x="2616" y="1615"/>
                  </a:lnTo>
                  <a:lnTo>
                    <a:pt x="2627" y="1600"/>
                  </a:lnTo>
                  <a:lnTo>
                    <a:pt x="2639" y="1585"/>
                  </a:lnTo>
                  <a:lnTo>
                    <a:pt x="2649" y="1570"/>
                  </a:lnTo>
                  <a:lnTo>
                    <a:pt x="2658" y="1554"/>
                  </a:lnTo>
                  <a:lnTo>
                    <a:pt x="2668" y="1538"/>
                  </a:lnTo>
                  <a:lnTo>
                    <a:pt x="2677" y="1522"/>
                  </a:lnTo>
                  <a:lnTo>
                    <a:pt x="2684" y="1506"/>
                  </a:lnTo>
                  <a:lnTo>
                    <a:pt x="2692" y="1488"/>
                  </a:lnTo>
                  <a:lnTo>
                    <a:pt x="2698" y="1471"/>
                  </a:lnTo>
                  <a:lnTo>
                    <a:pt x="2703" y="1454"/>
                  </a:lnTo>
                  <a:lnTo>
                    <a:pt x="2708" y="1437"/>
                  </a:lnTo>
                  <a:lnTo>
                    <a:pt x="2711" y="1418"/>
                  </a:lnTo>
                  <a:lnTo>
                    <a:pt x="2715" y="1400"/>
                  </a:lnTo>
                  <a:lnTo>
                    <a:pt x="2717" y="1381"/>
                  </a:lnTo>
                  <a:close/>
                  <a:moveTo>
                    <a:pt x="1466" y="134"/>
                  </a:moveTo>
                  <a:lnTo>
                    <a:pt x="1474" y="135"/>
                  </a:lnTo>
                  <a:lnTo>
                    <a:pt x="1493" y="134"/>
                  </a:lnTo>
                  <a:lnTo>
                    <a:pt x="1516" y="131"/>
                  </a:lnTo>
                  <a:lnTo>
                    <a:pt x="1542" y="128"/>
                  </a:lnTo>
                  <a:lnTo>
                    <a:pt x="1594" y="122"/>
                  </a:lnTo>
                  <a:lnTo>
                    <a:pt x="1626" y="119"/>
                  </a:lnTo>
                  <a:lnTo>
                    <a:pt x="1616" y="113"/>
                  </a:lnTo>
                  <a:lnTo>
                    <a:pt x="1605" y="108"/>
                  </a:lnTo>
                  <a:lnTo>
                    <a:pt x="1595" y="105"/>
                  </a:lnTo>
                  <a:lnTo>
                    <a:pt x="1585" y="101"/>
                  </a:lnTo>
                  <a:lnTo>
                    <a:pt x="1574" y="99"/>
                  </a:lnTo>
                  <a:lnTo>
                    <a:pt x="1564" y="98"/>
                  </a:lnTo>
                  <a:lnTo>
                    <a:pt x="1554" y="97"/>
                  </a:lnTo>
                  <a:lnTo>
                    <a:pt x="1543" y="97"/>
                  </a:lnTo>
                  <a:lnTo>
                    <a:pt x="1533" y="98"/>
                  </a:lnTo>
                  <a:lnTo>
                    <a:pt x="1523" y="100"/>
                  </a:lnTo>
                  <a:lnTo>
                    <a:pt x="1513" y="104"/>
                  </a:lnTo>
                  <a:lnTo>
                    <a:pt x="1503" y="107"/>
                  </a:lnTo>
                  <a:lnTo>
                    <a:pt x="1494" y="112"/>
                  </a:lnTo>
                  <a:lnTo>
                    <a:pt x="1483" y="119"/>
                  </a:lnTo>
                  <a:lnTo>
                    <a:pt x="1474" y="125"/>
                  </a:lnTo>
                  <a:lnTo>
                    <a:pt x="1466" y="134"/>
                  </a:lnTo>
                  <a:close/>
                  <a:moveTo>
                    <a:pt x="1669" y="98"/>
                  </a:moveTo>
                  <a:lnTo>
                    <a:pt x="1683" y="106"/>
                  </a:lnTo>
                  <a:lnTo>
                    <a:pt x="1696" y="112"/>
                  </a:lnTo>
                  <a:lnTo>
                    <a:pt x="1710" y="115"/>
                  </a:lnTo>
                  <a:lnTo>
                    <a:pt x="1724" y="119"/>
                  </a:lnTo>
                  <a:lnTo>
                    <a:pt x="1753" y="121"/>
                  </a:lnTo>
                  <a:lnTo>
                    <a:pt x="1784" y="123"/>
                  </a:lnTo>
                  <a:lnTo>
                    <a:pt x="1755" y="116"/>
                  </a:lnTo>
                  <a:lnTo>
                    <a:pt x="1726" y="109"/>
                  </a:lnTo>
                  <a:lnTo>
                    <a:pt x="1698" y="104"/>
                  </a:lnTo>
                  <a:lnTo>
                    <a:pt x="1669" y="98"/>
                  </a:lnTo>
                  <a:close/>
                  <a:moveTo>
                    <a:pt x="1563" y="161"/>
                  </a:moveTo>
                  <a:lnTo>
                    <a:pt x="1600" y="166"/>
                  </a:lnTo>
                  <a:lnTo>
                    <a:pt x="1635" y="172"/>
                  </a:lnTo>
                  <a:lnTo>
                    <a:pt x="1671" y="180"/>
                  </a:lnTo>
                  <a:lnTo>
                    <a:pt x="1707" y="188"/>
                  </a:lnTo>
                  <a:lnTo>
                    <a:pt x="1701" y="178"/>
                  </a:lnTo>
                  <a:lnTo>
                    <a:pt x="1694" y="172"/>
                  </a:lnTo>
                  <a:lnTo>
                    <a:pt x="1687" y="165"/>
                  </a:lnTo>
                  <a:lnTo>
                    <a:pt x="1679" y="160"/>
                  </a:lnTo>
                  <a:lnTo>
                    <a:pt x="1671" y="157"/>
                  </a:lnTo>
                  <a:lnTo>
                    <a:pt x="1663" y="154"/>
                  </a:lnTo>
                  <a:lnTo>
                    <a:pt x="1654" y="153"/>
                  </a:lnTo>
                  <a:lnTo>
                    <a:pt x="1645" y="152"/>
                  </a:lnTo>
                  <a:lnTo>
                    <a:pt x="1604" y="155"/>
                  </a:lnTo>
                  <a:lnTo>
                    <a:pt x="1563" y="161"/>
                  </a:lnTo>
                  <a:close/>
                  <a:moveTo>
                    <a:pt x="1913" y="184"/>
                  </a:moveTo>
                  <a:lnTo>
                    <a:pt x="1891" y="180"/>
                  </a:lnTo>
                  <a:lnTo>
                    <a:pt x="1869" y="175"/>
                  </a:lnTo>
                  <a:lnTo>
                    <a:pt x="1846" y="170"/>
                  </a:lnTo>
                  <a:lnTo>
                    <a:pt x="1824" y="167"/>
                  </a:lnTo>
                  <a:lnTo>
                    <a:pt x="1802" y="165"/>
                  </a:lnTo>
                  <a:lnTo>
                    <a:pt x="1779" y="162"/>
                  </a:lnTo>
                  <a:lnTo>
                    <a:pt x="1756" y="160"/>
                  </a:lnTo>
                  <a:lnTo>
                    <a:pt x="1735" y="159"/>
                  </a:lnTo>
                  <a:lnTo>
                    <a:pt x="1740" y="168"/>
                  </a:lnTo>
                  <a:lnTo>
                    <a:pt x="1746" y="178"/>
                  </a:lnTo>
                  <a:lnTo>
                    <a:pt x="1751" y="190"/>
                  </a:lnTo>
                  <a:lnTo>
                    <a:pt x="1754" y="200"/>
                  </a:lnTo>
                  <a:lnTo>
                    <a:pt x="1789" y="211"/>
                  </a:lnTo>
                  <a:lnTo>
                    <a:pt x="1822" y="222"/>
                  </a:lnTo>
                  <a:lnTo>
                    <a:pt x="1857" y="234"/>
                  </a:lnTo>
                  <a:lnTo>
                    <a:pt x="1890" y="246"/>
                  </a:lnTo>
                  <a:lnTo>
                    <a:pt x="1925" y="259"/>
                  </a:lnTo>
                  <a:lnTo>
                    <a:pt x="1957" y="273"/>
                  </a:lnTo>
                  <a:lnTo>
                    <a:pt x="1990" y="288"/>
                  </a:lnTo>
                  <a:lnTo>
                    <a:pt x="2023" y="303"/>
                  </a:lnTo>
                  <a:lnTo>
                    <a:pt x="2014" y="284"/>
                  </a:lnTo>
                  <a:lnTo>
                    <a:pt x="2003" y="267"/>
                  </a:lnTo>
                  <a:lnTo>
                    <a:pt x="1990" y="251"/>
                  </a:lnTo>
                  <a:lnTo>
                    <a:pt x="1976" y="236"/>
                  </a:lnTo>
                  <a:lnTo>
                    <a:pt x="1963" y="221"/>
                  </a:lnTo>
                  <a:lnTo>
                    <a:pt x="1946" y="208"/>
                  </a:lnTo>
                  <a:lnTo>
                    <a:pt x="1930" y="196"/>
                  </a:lnTo>
                  <a:lnTo>
                    <a:pt x="1913" y="184"/>
                  </a:lnTo>
                  <a:close/>
                  <a:moveTo>
                    <a:pt x="1520" y="197"/>
                  </a:moveTo>
                  <a:lnTo>
                    <a:pt x="1521" y="199"/>
                  </a:lnTo>
                  <a:lnTo>
                    <a:pt x="1521" y="203"/>
                  </a:lnTo>
                  <a:lnTo>
                    <a:pt x="1543" y="212"/>
                  </a:lnTo>
                  <a:lnTo>
                    <a:pt x="1566" y="221"/>
                  </a:lnTo>
                  <a:lnTo>
                    <a:pt x="1588" y="231"/>
                  </a:lnTo>
                  <a:lnTo>
                    <a:pt x="1610" y="242"/>
                  </a:lnTo>
                  <a:lnTo>
                    <a:pt x="1652" y="264"/>
                  </a:lnTo>
                  <a:lnTo>
                    <a:pt x="1693" y="289"/>
                  </a:lnTo>
                  <a:lnTo>
                    <a:pt x="1699" y="282"/>
                  </a:lnTo>
                  <a:lnTo>
                    <a:pt x="1703" y="276"/>
                  </a:lnTo>
                  <a:lnTo>
                    <a:pt x="1707" y="269"/>
                  </a:lnTo>
                  <a:lnTo>
                    <a:pt x="1710" y="261"/>
                  </a:lnTo>
                  <a:lnTo>
                    <a:pt x="1714" y="254"/>
                  </a:lnTo>
                  <a:lnTo>
                    <a:pt x="1716" y="248"/>
                  </a:lnTo>
                  <a:lnTo>
                    <a:pt x="1717" y="240"/>
                  </a:lnTo>
                  <a:lnTo>
                    <a:pt x="1718" y="231"/>
                  </a:lnTo>
                  <a:lnTo>
                    <a:pt x="1694" y="225"/>
                  </a:lnTo>
                  <a:lnTo>
                    <a:pt x="1670" y="219"/>
                  </a:lnTo>
                  <a:lnTo>
                    <a:pt x="1645" y="213"/>
                  </a:lnTo>
                  <a:lnTo>
                    <a:pt x="1620" y="208"/>
                  </a:lnTo>
                  <a:lnTo>
                    <a:pt x="1595" y="204"/>
                  </a:lnTo>
                  <a:lnTo>
                    <a:pt x="1571" y="200"/>
                  </a:lnTo>
                  <a:lnTo>
                    <a:pt x="1546" y="198"/>
                  </a:lnTo>
                  <a:lnTo>
                    <a:pt x="1520" y="197"/>
                  </a:lnTo>
                  <a:close/>
                  <a:moveTo>
                    <a:pt x="2590" y="858"/>
                  </a:moveTo>
                  <a:lnTo>
                    <a:pt x="2578" y="836"/>
                  </a:lnTo>
                  <a:lnTo>
                    <a:pt x="2565" y="813"/>
                  </a:lnTo>
                  <a:lnTo>
                    <a:pt x="2551" y="793"/>
                  </a:lnTo>
                  <a:lnTo>
                    <a:pt x="2536" y="771"/>
                  </a:lnTo>
                  <a:lnTo>
                    <a:pt x="2521" y="750"/>
                  </a:lnTo>
                  <a:lnTo>
                    <a:pt x="2506" y="729"/>
                  </a:lnTo>
                  <a:lnTo>
                    <a:pt x="2491" y="710"/>
                  </a:lnTo>
                  <a:lnTo>
                    <a:pt x="2475" y="690"/>
                  </a:lnTo>
                  <a:lnTo>
                    <a:pt x="2441" y="651"/>
                  </a:lnTo>
                  <a:lnTo>
                    <a:pt x="2406" y="614"/>
                  </a:lnTo>
                  <a:lnTo>
                    <a:pt x="2369" y="578"/>
                  </a:lnTo>
                  <a:lnTo>
                    <a:pt x="2330" y="545"/>
                  </a:lnTo>
                  <a:lnTo>
                    <a:pt x="2329" y="562"/>
                  </a:lnTo>
                  <a:lnTo>
                    <a:pt x="2327" y="578"/>
                  </a:lnTo>
                  <a:lnTo>
                    <a:pt x="2323" y="594"/>
                  </a:lnTo>
                  <a:lnTo>
                    <a:pt x="2320" y="610"/>
                  </a:lnTo>
                  <a:lnTo>
                    <a:pt x="2314" y="627"/>
                  </a:lnTo>
                  <a:lnTo>
                    <a:pt x="2308" y="642"/>
                  </a:lnTo>
                  <a:lnTo>
                    <a:pt x="2301" y="658"/>
                  </a:lnTo>
                  <a:lnTo>
                    <a:pt x="2293" y="672"/>
                  </a:lnTo>
                  <a:lnTo>
                    <a:pt x="2285" y="687"/>
                  </a:lnTo>
                  <a:lnTo>
                    <a:pt x="2276" y="700"/>
                  </a:lnTo>
                  <a:lnTo>
                    <a:pt x="2267" y="714"/>
                  </a:lnTo>
                  <a:lnTo>
                    <a:pt x="2256" y="728"/>
                  </a:lnTo>
                  <a:lnTo>
                    <a:pt x="2246" y="741"/>
                  </a:lnTo>
                  <a:lnTo>
                    <a:pt x="2234" y="752"/>
                  </a:lnTo>
                  <a:lnTo>
                    <a:pt x="2223" y="765"/>
                  </a:lnTo>
                  <a:lnTo>
                    <a:pt x="2210" y="776"/>
                  </a:lnTo>
                  <a:lnTo>
                    <a:pt x="2246" y="824"/>
                  </a:lnTo>
                  <a:lnTo>
                    <a:pt x="2279" y="871"/>
                  </a:lnTo>
                  <a:lnTo>
                    <a:pt x="2312" y="920"/>
                  </a:lnTo>
                  <a:lnTo>
                    <a:pt x="2344" y="970"/>
                  </a:lnTo>
                  <a:lnTo>
                    <a:pt x="2374" y="1021"/>
                  </a:lnTo>
                  <a:lnTo>
                    <a:pt x="2403" y="1071"/>
                  </a:lnTo>
                  <a:lnTo>
                    <a:pt x="2429" y="1123"/>
                  </a:lnTo>
                  <a:lnTo>
                    <a:pt x="2455" y="1176"/>
                  </a:lnTo>
                  <a:lnTo>
                    <a:pt x="2471" y="1160"/>
                  </a:lnTo>
                  <a:lnTo>
                    <a:pt x="2484" y="1143"/>
                  </a:lnTo>
                  <a:lnTo>
                    <a:pt x="2498" y="1125"/>
                  </a:lnTo>
                  <a:lnTo>
                    <a:pt x="2512" y="1107"/>
                  </a:lnTo>
                  <a:lnTo>
                    <a:pt x="2524" y="1089"/>
                  </a:lnTo>
                  <a:lnTo>
                    <a:pt x="2535" y="1070"/>
                  </a:lnTo>
                  <a:lnTo>
                    <a:pt x="2546" y="1051"/>
                  </a:lnTo>
                  <a:lnTo>
                    <a:pt x="2555" y="1031"/>
                  </a:lnTo>
                  <a:lnTo>
                    <a:pt x="2563" y="1010"/>
                  </a:lnTo>
                  <a:lnTo>
                    <a:pt x="2570" y="990"/>
                  </a:lnTo>
                  <a:lnTo>
                    <a:pt x="2577" y="969"/>
                  </a:lnTo>
                  <a:lnTo>
                    <a:pt x="2581" y="947"/>
                  </a:lnTo>
                  <a:lnTo>
                    <a:pt x="2586" y="925"/>
                  </a:lnTo>
                  <a:lnTo>
                    <a:pt x="2588" y="903"/>
                  </a:lnTo>
                  <a:lnTo>
                    <a:pt x="2590" y="881"/>
                  </a:lnTo>
                  <a:lnTo>
                    <a:pt x="2590" y="858"/>
                  </a:lnTo>
                  <a:close/>
                  <a:moveTo>
                    <a:pt x="2284" y="507"/>
                  </a:moveTo>
                  <a:lnTo>
                    <a:pt x="2259" y="488"/>
                  </a:lnTo>
                  <a:lnTo>
                    <a:pt x="2233" y="470"/>
                  </a:lnTo>
                  <a:lnTo>
                    <a:pt x="2208" y="453"/>
                  </a:lnTo>
                  <a:lnTo>
                    <a:pt x="2181" y="435"/>
                  </a:lnTo>
                  <a:lnTo>
                    <a:pt x="2155" y="418"/>
                  </a:lnTo>
                  <a:lnTo>
                    <a:pt x="2128" y="403"/>
                  </a:lnTo>
                  <a:lnTo>
                    <a:pt x="2102" y="387"/>
                  </a:lnTo>
                  <a:lnTo>
                    <a:pt x="2074" y="372"/>
                  </a:lnTo>
                  <a:lnTo>
                    <a:pt x="2073" y="384"/>
                  </a:lnTo>
                  <a:lnTo>
                    <a:pt x="2072" y="395"/>
                  </a:lnTo>
                  <a:lnTo>
                    <a:pt x="2070" y="405"/>
                  </a:lnTo>
                  <a:lnTo>
                    <a:pt x="2066" y="417"/>
                  </a:lnTo>
                  <a:lnTo>
                    <a:pt x="2063" y="427"/>
                  </a:lnTo>
                  <a:lnTo>
                    <a:pt x="2058" y="438"/>
                  </a:lnTo>
                  <a:lnTo>
                    <a:pt x="2054" y="448"/>
                  </a:lnTo>
                  <a:lnTo>
                    <a:pt x="2049" y="458"/>
                  </a:lnTo>
                  <a:lnTo>
                    <a:pt x="2036" y="477"/>
                  </a:lnTo>
                  <a:lnTo>
                    <a:pt x="2024" y="495"/>
                  </a:lnTo>
                  <a:lnTo>
                    <a:pt x="2009" y="513"/>
                  </a:lnTo>
                  <a:lnTo>
                    <a:pt x="1993" y="529"/>
                  </a:lnTo>
                  <a:lnTo>
                    <a:pt x="2018" y="553"/>
                  </a:lnTo>
                  <a:lnTo>
                    <a:pt x="2042" y="579"/>
                  </a:lnTo>
                  <a:lnTo>
                    <a:pt x="2066" y="605"/>
                  </a:lnTo>
                  <a:lnTo>
                    <a:pt x="2090" y="631"/>
                  </a:lnTo>
                  <a:lnTo>
                    <a:pt x="2115" y="658"/>
                  </a:lnTo>
                  <a:lnTo>
                    <a:pt x="2138" y="685"/>
                  </a:lnTo>
                  <a:lnTo>
                    <a:pt x="2161" y="713"/>
                  </a:lnTo>
                  <a:lnTo>
                    <a:pt x="2183" y="741"/>
                  </a:lnTo>
                  <a:lnTo>
                    <a:pt x="2194" y="728"/>
                  </a:lnTo>
                  <a:lnTo>
                    <a:pt x="2206" y="716"/>
                  </a:lnTo>
                  <a:lnTo>
                    <a:pt x="2217" y="704"/>
                  </a:lnTo>
                  <a:lnTo>
                    <a:pt x="2228" y="691"/>
                  </a:lnTo>
                  <a:lnTo>
                    <a:pt x="2237" y="677"/>
                  </a:lnTo>
                  <a:lnTo>
                    <a:pt x="2246" y="663"/>
                  </a:lnTo>
                  <a:lnTo>
                    <a:pt x="2254" y="650"/>
                  </a:lnTo>
                  <a:lnTo>
                    <a:pt x="2261" y="635"/>
                  </a:lnTo>
                  <a:lnTo>
                    <a:pt x="2268" y="620"/>
                  </a:lnTo>
                  <a:lnTo>
                    <a:pt x="2274" y="605"/>
                  </a:lnTo>
                  <a:lnTo>
                    <a:pt x="2277" y="590"/>
                  </a:lnTo>
                  <a:lnTo>
                    <a:pt x="2281" y="574"/>
                  </a:lnTo>
                  <a:lnTo>
                    <a:pt x="2284" y="557"/>
                  </a:lnTo>
                  <a:lnTo>
                    <a:pt x="2285" y="541"/>
                  </a:lnTo>
                  <a:lnTo>
                    <a:pt x="2285" y="524"/>
                  </a:lnTo>
                  <a:lnTo>
                    <a:pt x="2284" y="507"/>
                  </a:lnTo>
                  <a:close/>
                  <a:moveTo>
                    <a:pt x="2035" y="352"/>
                  </a:moveTo>
                  <a:lnTo>
                    <a:pt x="2002" y="335"/>
                  </a:lnTo>
                  <a:lnTo>
                    <a:pt x="1967" y="320"/>
                  </a:lnTo>
                  <a:lnTo>
                    <a:pt x="1933" y="305"/>
                  </a:lnTo>
                  <a:lnTo>
                    <a:pt x="1898" y="291"/>
                  </a:lnTo>
                  <a:lnTo>
                    <a:pt x="1864" y="278"/>
                  </a:lnTo>
                  <a:lnTo>
                    <a:pt x="1828" y="265"/>
                  </a:lnTo>
                  <a:lnTo>
                    <a:pt x="1792" y="253"/>
                  </a:lnTo>
                  <a:lnTo>
                    <a:pt x="1756" y="242"/>
                  </a:lnTo>
                  <a:lnTo>
                    <a:pt x="1755" y="251"/>
                  </a:lnTo>
                  <a:lnTo>
                    <a:pt x="1753" y="260"/>
                  </a:lnTo>
                  <a:lnTo>
                    <a:pt x="1749" y="269"/>
                  </a:lnTo>
                  <a:lnTo>
                    <a:pt x="1746" y="278"/>
                  </a:lnTo>
                  <a:lnTo>
                    <a:pt x="1741" y="287"/>
                  </a:lnTo>
                  <a:lnTo>
                    <a:pt x="1737" y="295"/>
                  </a:lnTo>
                  <a:lnTo>
                    <a:pt x="1732" y="302"/>
                  </a:lnTo>
                  <a:lnTo>
                    <a:pt x="1726" y="310"/>
                  </a:lnTo>
                  <a:lnTo>
                    <a:pt x="1758" y="332"/>
                  </a:lnTo>
                  <a:lnTo>
                    <a:pt x="1789" y="354"/>
                  </a:lnTo>
                  <a:lnTo>
                    <a:pt x="1820" y="377"/>
                  </a:lnTo>
                  <a:lnTo>
                    <a:pt x="1850" y="401"/>
                  </a:lnTo>
                  <a:lnTo>
                    <a:pt x="1879" y="425"/>
                  </a:lnTo>
                  <a:lnTo>
                    <a:pt x="1908" y="449"/>
                  </a:lnTo>
                  <a:lnTo>
                    <a:pt x="1936" y="476"/>
                  </a:lnTo>
                  <a:lnTo>
                    <a:pt x="1964" y="501"/>
                  </a:lnTo>
                  <a:lnTo>
                    <a:pt x="1979" y="486"/>
                  </a:lnTo>
                  <a:lnTo>
                    <a:pt x="1994" y="470"/>
                  </a:lnTo>
                  <a:lnTo>
                    <a:pt x="2006" y="453"/>
                  </a:lnTo>
                  <a:lnTo>
                    <a:pt x="2017" y="434"/>
                  </a:lnTo>
                  <a:lnTo>
                    <a:pt x="2021" y="425"/>
                  </a:lnTo>
                  <a:lnTo>
                    <a:pt x="2026" y="416"/>
                  </a:lnTo>
                  <a:lnTo>
                    <a:pt x="2029" y="405"/>
                  </a:lnTo>
                  <a:lnTo>
                    <a:pt x="2032" y="395"/>
                  </a:lnTo>
                  <a:lnTo>
                    <a:pt x="2034" y="385"/>
                  </a:lnTo>
                  <a:lnTo>
                    <a:pt x="2035" y="374"/>
                  </a:lnTo>
                  <a:lnTo>
                    <a:pt x="2035" y="363"/>
                  </a:lnTo>
                  <a:lnTo>
                    <a:pt x="2035" y="352"/>
                  </a:lnTo>
                  <a:close/>
                  <a:moveTo>
                    <a:pt x="1511" y="241"/>
                  </a:moveTo>
                  <a:lnTo>
                    <a:pt x="1503" y="251"/>
                  </a:lnTo>
                  <a:lnTo>
                    <a:pt x="1495" y="259"/>
                  </a:lnTo>
                  <a:lnTo>
                    <a:pt x="1517" y="283"/>
                  </a:lnTo>
                  <a:lnTo>
                    <a:pt x="1538" y="309"/>
                  </a:lnTo>
                  <a:lnTo>
                    <a:pt x="1557" y="335"/>
                  </a:lnTo>
                  <a:lnTo>
                    <a:pt x="1577" y="360"/>
                  </a:lnTo>
                  <a:lnTo>
                    <a:pt x="1600" y="352"/>
                  </a:lnTo>
                  <a:lnTo>
                    <a:pt x="1622" y="342"/>
                  </a:lnTo>
                  <a:lnTo>
                    <a:pt x="1643" y="329"/>
                  </a:lnTo>
                  <a:lnTo>
                    <a:pt x="1664" y="317"/>
                  </a:lnTo>
                  <a:lnTo>
                    <a:pt x="1627" y="295"/>
                  </a:lnTo>
                  <a:lnTo>
                    <a:pt x="1589" y="275"/>
                  </a:lnTo>
                  <a:lnTo>
                    <a:pt x="1570" y="266"/>
                  </a:lnTo>
                  <a:lnTo>
                    <a:pt x="1550" y="257"/>
                  </a:lnTo>
                  <a:lnTo>
                    <a:pt x="1531" y="249"/>
                  </a:lnTo>
                  <a:lnTo>
                    <a:pt x="1511" y="241"/>
                  </a:lnTo>
                  <a:close/>
                  <a:moveTo>
                    <a:pt x="2372" y="2265"/>
                  </a:moveTo>
                  <a:lnTo>
                    <a:pt x="2381" y="2255"/>
                  </a:lnTo>
                  <a:lnTo>
                    <a:pt x="2389" y="2244"/>
                  </a:lnTo>
                  <a:lnTo>
                    <a:pt x="2397" y="2234"/>
                  </a:lnTo>
                  <a:lnTo>
                    <a:pt x="2405" y="2223"/>
                  </a:lnTo>
                  <a:lnTo>
                    <a:pt x="2384" y="2237"/>
                  </a:lnTo>
                  <a:lnTo>
                    <a:pt x="2362" y="2250"/>
                  </a:lnTo>
                  <a:lnTo>
                    <a:pt x="2340" y="2264"/>
                  </a:lnTo>
                  <a:lnTo>
                    <a:pt x="2319" y="2276"/>
                  </a:lnTo>
                  <a:lnTo>
                    <a:pt x="2274" y="2299"/>
                  </a:lnTo>
                  <a:lnTo>
                    <a:pt x="2229" y="2321"/>
                  </a:lnTo>
                  <a:lnTo>
                    <a:pt x="2181" y="2341"/>
                  </a:lnTo>
                  <a:lnTo>
                    <a:pt x="2134" y="2359"/>
                  </a:lnTo>
                  <a:lnTo>
                    <a:pt x="2087" y="2377"/>
                  </a:lnTo>
                  <a:lnTo>
                    <a:pt x="2039" y="2392"/>
                  </a:lnTo>
                  <a:lnTo>
                    <a:pt x="2031" y="2414"/>
                  </a:lnTo>
                  <a:lnTo>
                    <a:pt x="2021" y="2434"/>
                  </a:lnTo>
                  <a:lnTo>
                    <a:pt x="2012" y="2455"/>
                  </a:lnTo>
                  <a:lnTo>
                    <a:pt x="2003" y="2476"/>
                  </a:lnTo>
                  <a:lnTo>
                    <a:pt x="1991" y="2495"/>
                  </a:lnTo>
                  <a:lnTo>
                    <a:pt x="1980" y="2515"/>
                  </a:lnTo>
                  <a:lnTo>
                    <a:pt x="1968" y="2535"/>
                  </a:lnTo>
                  <a:lnTo>
                    <a:pt x="1956" y="2553"/>
                  </a:lnTo>
                  <a:lnTo>
                    <a:pt x="1984" y="2540"/>
                  </a:lnTo>
                  <a:lnTo>
                    <a:pt x="2013" y="2526"/>
                  </a:lnTo>
                  <a:lnTo>
                    <a:pt x="2042" y="2511"/>
                  </a:lnTo>
                  <a:lnTo>
                    <a:pt x="2070" y="2496"/>
                  </a:lnTo>
                  <a:lnTo>
                    <a:pt x="2097" y="2482"/>
                  </a:lnTo>
                  <a:lnTo>
                    <a:pt x="2125" y="2464"/>
                  </a:lnTo>
                  <a:lnTo>
                    <a:pt x="2152" y="2448"/>
                  </a:lnTo>
                  <a:lnTo>
                    <a:pt x="2178" y="2430"/>
                  </a:lnTo>
                  <a:lnTo>
                    <a:pt x="2205" y="2411"/>
                  </a:lnTo>
                  <a:lnTo>
                    <a:pt x="2230" y="2393"/>
                  </a:lnTo>
                  <a:lnTo>
                    <a:pt x="2255" y="2373"/>
                  </a:lnTo>
                  <a:lnTo>
                    <a:pt x="2279" y="2352"/>
                  </a:lnTo>
                  <a:lnTo>
                    <a:pt x="2304" y="2332"/>
                  </a:lnTo>
                  <a:lnTo>
                    <a:pt x="2327" y="2310"/>
                  </a:lnTo>
                  <a:lnTo>
                    <a:pt x="2350" y="2288"/>
                  </a:lnTo>
                  <a:lnTo>
                    <a:pt x="2372" y="2265"/>
                  </a:lnTo>
                  <a:close/>
                  <a:moveTo>
                    <a:pt x="2468" y="2124"/>
                  </a:moveTo>
                  <a:lnTo>
                    <a:pt x="2480" y="2101"/>
                  </a:lnTo>
                  <a:lnTo>
                    <a:pt x="2490" y="2077"/>
                  </a:lnTo>
                  <a:lnTo>
                    <a:pt x="2501" y="2054"/>
                  </a:lnTo>
                  <a:lnTo>
                    <a:pt x="2510" y="2030"/>
                  </a:lnTo>
                  <a:lnTo>
                    <a:pt x="2518" y="2006"/>
                  </a:lnTo>
                  <a:lnTo>
                    <a:pt x="2526" y="1981"/>
                  </a:lnTo>
                  <a:lnTo>
                    <a:pt x="2532" y="1956"/>
                  </a:lnTo>
                  <a:lnTo>
                    <a:pt x="2539" y="1932"/>
                  </a:lnTo>
                  <a:lnTo>
                    <a:pt x="2543" y="1907"/>
                  </a:lnTo>
                  <a:lnTo>
                    <a:pt x="2548" y="1881"/>
                  </a:lnTo>
                  <a:lnTo>
                    <a:pt x="2551" y="1856"/>
                  </a:lnTo>
                  <a:lnTo>
                    <a:pt x="2554" y="1831"/>
                  </a:lnTo>
                  <a:lnTo>
                    <a:pt x="2556" y="1805"/>
                  </a:lnTo>
                  <a:lnTo>
                    <a:pt x="2557" y="1779"/>
                  </a:lnTo>
                  <a:lnTo>
                    <a:pt x="2557" y="1753"/>
                  </a:lnTo>
                  <a:lnTo>
                    <a:pt x="2557" y="1728"/>
                  </a:lnTo>
                  <a:lnTo>
                    <a:pt x="2532" y="1748"/>
                  </a:lnTo>
                  <a:lnTo>
                    <a:pt x="2506" y="1766"/>
                  </a:lnTo>
                  <a:lnTo>
                    <a:pt x="2480" y="1784"/>
                  </a:lnTo>
                  <a:lnTo>
                    <a:pt x="2452" y="1802"/>
                  </a:lnTo>
                  <a:lnTo>
                    <a:pt x="2425" y="1818"/>
                  </a:lnTo>
                  <a:lnTo>
                    <a:pt x="2396" y="1833"/>
                  </a:lnTo>
                  <a:lnTo>
                    <a:pt x="2368" y="1848"/>
                  </a:lnTo>
                  <a:lnTo>
                    <a:pt x="2338" y="1862"/>
                  </a:lnTo>
                  <a:lnTo>
                    <a:pt x="2309" y="1875"/>
                  </a:lnTo>
                  <a:lnTo>
                    <a:pt x="2279" y="1888"/>
                  </a:lnTo>
                  <a:lnTo>
                    <a:pt x="2249" y="1900"/>
                  </a:lnTo>
                  <a:lnTo>
                    <a:pt x="2219" y="1911"/>
                  </a:lnTo>
                  <a:lnTo>
                    <a:pt x="2158" y="1932"/>
                  </a:lnTo>
                  <a:lnTo>
                    <a:pt x="2096" y="1950"/>
                  </a:lnTo>
                  <a:lnTo>
                    <a:pt x="2097" y="2000"/>
                  </a:lnTo>
                  <a:lnTo>
                    <a:pt x="2096" y="2049"/>
                  </a:lnTo>
                  <a:lnTo>
                    <a:pt x="2094" y="2100"/>
                  </a:lnTo>
                  <a:lnTo>
                    <a:pt x="2090" y="2150"/>
                  </a:lnTo>
                  <a:lnTo>
                    <a:pt x="2085" y="2199"/>
                  </a:lnTo>
                  <a:lnTo>
                    <a:pt x="2077" y="2249"/>
                  </a:lnTo>
                  <a:lnTo>
                    <a:pt x="2071" y="2274"/>
                  </a:lnTo>
                  <a:lnTo>
                    <a:pt x="2066" y="2298"/>
                  </a:lnTo>
                  <a:lnTo>
                    <a:pt x="2059" y="2323"/>
                  </a:lnTo>
                  <a:lnTo>
                    <a:pt x="2052" y="2347"/>
                  </a:lnTo>
                  <a:lnTo>
                    <a:pt x="2109" y="2327"/>
                  </a:lnTo>
                  <a:lnTo>
                    <a:pt x="2164" y="2306"/>
                  </a:lnTo>
                  <a:lnTo>
                    <a:pt x="2192" y="2295"/>
                  </a:lnTo>
                  <a:lnTo>
                    <a:pt x="2219" y="2282"/>
                  </a:lnTo>
                  <a:lnTo>
                    <a:pt x="2246" y="2271"/>
                  </a:lnTo>
                  <a:lnTo>
                    <a:pt x="2272" y="2257"/>
                  </a:lnTo>
                  <a:lnTo>
                    <a:pt x="2299" y="2243"/>
                  </a:lnTo>
                  <a:lnTo>
                    <a:pt x="2324" y="2228"/>
                  </a:lnTo>
                  <a:lnTo>
                    <a:pt x="2350" y="2213"/>
                  </a:lnTo>
                  <a:lnTo>
                    <a:pt x="2375" y="2197"/>
                  </a:lnTo>
                  <a:lnTo>
                    <a:pt x="2399" y="2180"/>
                  </a:lnTo>
                  <a:lnTo>
                    <a:pt x="2422" y="2162"/>
                  </a:lnTo>
                  <a:lnTo>
                    <a:pt x="2445" y="2144"/>
                  </a:lnTo>
                  <a:lnTo>
                    <a:pt x="2468" y="2124"/>
                  </a:lnTo>
                  <a:close/>
                  <a:moveTo>
                    <a:pt x="2555" y="1677"/>
                  </a:moveTo>
                  <a:lnTo>
                    <a:pt x="2552" y="1650"/>
                  </a:lnTo>
                  <a:lnTo>
                    <a:pt x="2549" y="1621"/>
                  </a:lnTo>
                  <a:lnTo>
                    <a:pt x="2546" y="1593"/>
                  </a:lnTo>
                  <a:lnTo>
                    <a:pt x="2541" y="1566"/>
                  </a:lnTo>
                  <a:lnTo>
                    <a:pt x="2536" y="1538"/>
                  </a:lnTo>
                  <a:lnTo>
                    <a:pt x="2531" y="1510"/>
                  </a:lnTo>
                  <a:lnTo>
                    <a:pt x="2524" y="1483"/>
                  </a:lnTo>
                  <a:lnTo>
                    <a:pt x="2517" y="1455"/>
                  </a:lnTo>
                  <a:lnTo>
                    <a:pt x="2501" y="1401"/>
                  </a:lnTo>
                  <a:lnTo>
                    <a:pt x="2483" y="1347"/>
                  </a:lnTo>
                  <a:lnTo>
                    <a:pt x="2464" y="1295"/>
                  </a:lnTo>
                  <a:lnTo>
                    <a:pt x="2442" y="1242"/>
                  </a:lnTo>
                  <a:lnTo>
                    <a:pt x="2420" y="1260"/>
                  </a:lnTo>
                  <a:lnTo>
                    <a:pt x="2397" y="1279"/>
                  </a:lnTo>
                  <a:lnTo>
                    <a:pt x="2373" y="1295"/>
                  </a:lnTo>
                  <a:lnTo>
                    <a:pt x="2349" y="1311"/>
                  </a:lnTo>
                  <a:lnTo>
                    <a:pt x="2324" y="1327"/>
                  </a:lnTo>
                  <a:lnTo>
                    <a:pt x="2299" y="1341"/>
                  </a:lnTo>
                  <a:lnTo>
                    <a:pt x="2274" y="1355"/>
                  </a:lnTo>
                  <a:lnTo>
                    <a:pt x="2247" y="1369"/>
                  </a:lnTo>
                  <a:lnTo>
                    <a:pt x="2221" y="1381"/>
                  </a:lnTo>
                  <a:lnTo>
                    <a:pt x="2194" y="1393"/>
                  </a:lnTo>
                  <a:lnTo>
                    <a:pt x="2168" y="1404"/>
                  </a:lnTo>
                  <a:lnTo>
                    <a:pt x="2140" y="1415"/>
                  </a:lnTo>
                  <a:lnTo>
                    <a:pt x="2086" y="1434"/>
                  </a:lnTo>
                  <a:lnTo>
                    <a:pt x="2031" y="1452"/>
                  </a:lnTo>
                  <a:lnTo>
                    <a:pt x="2043" y="1508"/>
                  </a:lnTo>
                  <a:lnTo>
                    <a:pt x="2054" y="1566"/>
                  </a:lnTo>
                  <a:lnTo>
                    <a:pt x="2064" y="1622"/>
                  </a:lnTo>
                  <a:lnTo>
                    <a:pt x="2073" y="1680"/>
                  </a:lnTo>
                  <a:lnTo>
                    <a:pt x="2080" y="1737"/>
                  </a:lnTo>
                  <a:lnTo>
                    <a:pt x="2087" y="1795"/>
                  </a:lnTo>
                  <a:lnTo>
                    <a:pt x="2092" y="1852"/>
                  </a:lnTo>
                  <a:lnTo>
                    <a:pt x="2095" y="1910"/>
                  </a:lnTo>
                  <a:lnTo>
                    <a:pt x="2157" y="1890"/>
                  </a:lnTo>
                  <a:lnTo>
                    <a:pt x="2218" y="1870"/>
                  </a:lnTo>
                  <a:lnTo>
                    <a:pt x="2248" y="1858"/>
                  </a:lnTo>
                  <a:lnTo>
                    <a:pt x="2278" y="1846"/>
                  </a:lnTo>
                  <a:lnTo>
                    <a:pt x="2308" y="1833"/>
                  </a:lnTo>
                  <a:lnTo>
                    <a:pt x="2338" y="1819"/>
                  </a:lnTo>
                  <a:lnTo>
                    <a:pt x="2367" y="1804"/>
                  </a:lnTo>
                  <a:lnTo>
                    <a:pt x="2396" y="1789"/>
                  </a:lnTo>
                  <a:lnTo>
                    <a:pt x="2425" y="1773"/>
                  </a:lnTo>
                  <a:lnTo>
                    <a:pt x="2452" y="1756"/>
                  </a:lnTo>
                  <a:lnTo>
                    <a:pt x="2479" y="1737"/>
                  </a:lnTo>
                  <a:lnTo>
                    <a:pt x="2505" y="1719"/>
                  </a:lnTo>
                  <a:lnTo>
                    <a:pt x="2531" y="1699"/>
                  </a:lnTo>
                  <a:lnTo>
                    <a:pt x="2555" y="1677"/>
                  </a:lnTo>
                  <a:close/>
                  <a:moveTo>
                    <a:pt x="2426" y="1205"/>
                  </a:moveTo>
                  <a:lnTo>
                    <a:pt x="2400" y="1152"/>
                  </a:lnTo>
                  <a:lnTo>
                    <a:pt x="2373" y="1099"/>
                  </a:lnTo>
                  <a:lnTo>
                    <a:pt x="2344" y="1047"/>
                  </a:lnTo>
                  <a:lnTo>
                    <a:pt x="2314" y="996"/>
                  </a:lnTo>
                  <a:lnTo>
                    <a:pt x="2283" y="947"/>
                  </a:lnTo>
                  <a:lnTo>
                    <a:pt x="2251" y="897"/>
                  </a:lnTo>
                  <a:lnTo>
                    <a:pt x="2216" y="849"/>
                  </a:lnTo>
                  <a:lnTo>
                    <a:pt x="2181" y="802"/>
                  </a:lnTo>
                  <a:lnTo>
                    <a:pt x="2164" y="816"/>
                  </a:lnTo>
                  <a:lnTo>
                    <a:pt x="2147" y="827"/>
                  </a:lnTo>
                  <a:lnTo>
                    <a:pt x="2130" y="840"/>
                  </a:lnTo>
                  <a:lnTo>
                    <a:pt x="2112" y="851"/>
                  </a:lnTo>
                  <a:lnTo>
                    <a:pt x="2075" y="872"/>
                  </a:lnTo>
                  <a:lnTo>
                    <a:pt x="2039" y="892"/>
                  </a:lnTo>
                  <a:lnTo>
                    <a:pt x="2001" y="910"/>
                  </a:lnTo>
                  <a:lnTo>
                    <a:pt x="1961" y="926"/>
                  </a:lnTo>
                  <a:lnTo>
                    <a:pt x="1921" y="941"/>
                  </a:lnTo>
                  <a:lnTo>
                    <a:pt x="1881" y="955"/>
                  </a:lnTo>
                  <a:lnTo>
                    <a:pt x="1902" y="1011"/>
                  </a:lnTo>
                  <a:lnTo>
                    <a:pt x="1922" y="1068"/>
                  </a:lnTo>
                  <a:lnTo>
                    <a:pt x="1941" y="1125"/>
                  </a:lnTo>
                  <a:lnTo>
                    <a:pt x="1959" y="1182"/>
                  </a:lnTo>
                  <a:lnTo>
                    <a:pt x="1976" y="1240"/>
                  </a:lnTo>
                  <a:lnTo>
                    <a:pt x="1993" y="1297"/>
                  </a:lnTo>
                  <a:lnTo>
                    <a:pt x="2008" y="1356"/>
                  </a:lnTo>
                  <a:lnTo>
                    <a:pt x="2023" y="1414"/>
                  </a:lnTo>
                  <a:lnTo>
                    <a:pt x="2077" y="1396"/>
                  </a:lnTo>
                  <a:lnTo>
                    <a:pt x="2130" y="1377"/>
                  </a:lnTo>
                  <a:lnTo>
                    <a:pt x="2157" y="1366"/>
                  </a:lnTo>
                  <a:lnTo>
                    <a:pt x="2184" y="1355"/>
                  </a:lnTo>
                  <a:lnTo>
                    <a:pt x="2209" y="1343"/>
                  </a:lnTo>
                  <a:lnTo>
                    <a:pt x="2236" y="1331"/>
                  </a:lnTo>
                  <a:lnTo>
                    <a:pt x="2261" y="1318"/>
                  </a:lnTo>
                  <a:lnTo>
                    <a:pt x="2286" y="1304"/>
                  </a:lnTo>
                  <a:lnTo>
                    <a:pt x="2311" y="1289"/>
                  </a:lnTo>
                  <a:lnTo>
                    <a:pt x="2335" y="1274"/>
                  </a:lnTo>
                  <a:lnTo>
                    <a:pt x="2358" y="1258"/>
                  </a:lnTo>
                  <a:lnTo>
                    <a:pt x="2381" y="1242"/>
                  </a:lnTo>
                  <a:lnTo>
                    <a:pt x="2404" y="1223"/>
                  </a:lnTo>
                  <a:lnTo>
                    <a:pt x="2426" y="1205"/>
                  </a:lnTo>
                  <a:close/>
                  <a:moveTo>
                    <a:pt x="2153" y="766"/>
                  </a:moveTo>
                  <a:lnTo>
                    <a:pt x="2131" y="738"/>
                  </a:lnTo>
                  <a:lnTo>
                    <a:pt x="2108" y="711"/>
                  </a:lnTo>
                  <a:lnTo>
                    <a:pt x="2085" y="683"/>
                  </a:lnTo>
                  <a:lnTo>
                    <a:pt x="2061" y="657"/>
                  </a:lnTo>
                  <a:lnTo>
                    <a:pt x="2037" y="630"/>
                  </a:lnTo>
                  <a:lnTo>
                    <a:pt x="2012" y="605"/>
                  </a:lnTo>
                  <a:lnTo>
                    <a:pt x="1988" y="578"/>
                  </a:lnTo>
                  <a:lnTo>
                    <a:pt x="1963" y="554"/>
                  </a:lnTo>
                  <a:lnTo>
                    <a:pt x="1938" y="571"/>
                  </a:lnTo>
                  <a:lnTo>
                    <a:pt x="1914" y="586"/>
                  </a:lnTo>
                  <a:lnTo>
                    <a:pt x="1888" y="601"/>
                  </a:lnTo>
                  <a:lnTo>
                    <a:pt x="1861" y="615"/>
                  </a:lnTo>
                  <a:lnTo>
                    <a:pt x="1835" y="627"/>
                  </a:lnTo>
                  <a:lnTo>
                    <a:pt x="1807" y="638"/>
                  </a:lnTo>
                  <a:lnTo>
                    <a:pt x="1779" y="649"/>
                  </a:lnTo>
                  <a:lnTo>
                    <a:pt x="1752" y="658"/>
                  </a:lnTo>
                  <a:lnTo>
                    <a:pt x="1767" y="689"/>
                  </a:lnTo>
                  <a:lnTo>
                    <a:pt x="1782" y="721"/>
                  </a:lnTo>
                  <a:lnTo>
                    <a:pt x="1797" y="752"/>
                  </a:lnTo>
                  <a:lnTo>
                    <a:pt x="1811" y="784"/>
                  </a:lnTo>
                  <a:lnTo>
                    <a:pt x="1826" y="816"/>
                  </a:lnTo>
                  <a:lnTo>
                    <a:pt x="1838" y="848"/>
                  </a:lnTo>
                  <a:lnTo>
                    <a:pt x="1852" y="880"/>
                  </a:lnTo>
                  <a:lnTo>
                    <a:pt x="1865" y="912"/>
                  </a:lnTo>
                  <a:lnTo>
                    <a:pt x="1903" y="900"/>
                  </a:lnTo>
                  <a:lnTo>
                    <a:pt x="1942" y="885"/>
                  </a:lnTo>
                  <a:lnTo>
                    <a:pt x="1979" y="870"/>
                  </a:lnTo>
                  <a:lnTo>
                    <a:pt x="2016" y="852"/>
                  </a:lnTo>
                  <a:lnTo>
                    <a:pt x="2051" y="833"/>
                  </a:lnTo>
                  <a:lnTo>
                    <a:pt x="2087" y="813"/>
                  </a:lnTo>
                  <a:lnTo>
                    <a:pt x="2120" y="790"/>
                  </a:lnTo>
                  <a:lnTo>
                    <a:pt x="2153" y="766"/>
                  </a:lnTo>
                  <a:close/>
                  <a:moveTo>
                    <a:pt x="1934" y="526"/>
                  </a:moveTo>
                  <a:lnTo>
                    <a:pt x="1906" y="501"/>
                  </a:lnTo>
                  <a:lnTo>
                    <a:pt x="1879" y="476"/>
                  </a:lnTo>
                  <a:lnTo>
                    <a:pt x="1850" y="451"/>
                  </a:lnTo>
                  <a:lnTo>
                    <a:pt x="1821" y="427"/>
                  </a:lnTo>
                  <a:lnTo>
                    <a:pt x="1791" y="403"/>
                  </a:lnTo>
                  <a:lnTo>
                    <a:pt x="1761" y="381"/>
                  </a:lnTo>
                  <a:lnTo>
                    <a:pt x="1730" y="359"/>
                  </a:lnTo>
                  <a:lnTo>
                    <a:pt x="1699" y="339"/>
                  </a:lnTo>
                  <a:lnTo>
                    <a:pt x="1687" y="347"/>
                  </a:lnTo>
                  <a:lnTo>
                    <a:pt x="1676" y="355"/>
                  </a:lnTo>
                  <a:lnTo>
                    <a:pt x="1664" y="363"/>
                  </a:lnTo>
                  <a:lnTo>
                    <a:pt x="1652" y="370"/>
                  </a:lnTo>
                  <a:lnTo>
                    <a:pt x="1626" y="382"/>
                  </a:lnTo>
                  <a:lnTo>
                    <a:pt x="1600" y="394"/>
                  </a:lnTo>
                  <a:lnTo>
                    <a:pt x="1618" y="422"/>
                  </a:lnTo>
                  <a:lnTo>
                    <a:pt x="1637" y="449"/>
                  </a:lnTo>
                  <a:lnTo>
                    <a:pt x="1654" y="478"/>
                  </a:lnTo>
                  <a:lnTo>
                    <a:pt x="1671" y="506"/>
                  </a:lnTo>
                  <a:lnTo>
                    <a:pt x="1687" y="534"/>
                  </a:lnTo>
                  <a:lnTo>
                    <a:pt x="1703" y="564"/>
                  </a:lnTo>
                  <a:lnTo>
                    <a:pt x="1720" y="593"/>
                  </a:lnTo>
                  <a:lnTo>
                    <a:pt x="1735" y="623"/>
                  </a:lnTo>
                  <a:lnTo>
                    <a:pt x="1761" y="614"/>
                  </a:lnTo>
                  <a:lnTo>
                    <a:pt x="1786" y="605"/>
                  </a:lnTo>
                  <a:lnTo>
                    <a:pt x="1813" y="594"/>
                  </a:lnTo>
                  <a:lnTo>
                    <a:pt x="1838" y="583"/>
                  </a:lnTo>
                  <a:lnTo>
                    <a:pt x="1864" y="570"/>
                  </a:lnTo>
                  <a:lnTo>
                    <a:pt x="1888" y="557"/>
                  </a:lnTo>
                  <a:lnTo>
                    <a:pt x="1911" y="543"/>
                  </a:lnTo>
                  <a:lnTo>
                    <a:pt x="1934" y="526"/>
                  </a:lnTo>
                  <a:close/>
                  <a:moveTo>
                    <a:pt x="1460" y="280"/>
                  </a:moveTo>
                  <a:lnTo>
                    <a:pt x="1450" y="284"/>
                  </a:lnTo>
                  <a:lnTo>
                    <a:pt x="1438" y="288"/>
                  </a:lnTo>
                  <a:lnTo>
                    <a:pt x="1426" y="291"/>
                  </a:lnTo>
                  <a:lnTo>
                    <a:pt x="1414" y="294"/>
                  </a:lnTo>
                  <a:lnTo>
                    <a:pt x="1414" y="392"/>
                  </a:lnTo>
                  <a:lnTo>
                    <a:pt x="1445" y="389"/>
                  </a:lnTo>
                  <a:lnTo>
                    <a:pt x="1476" y="386"/>
                  </a:lnTo>
                  <a:lnTo>
                    <a:pt x="1508" y="380"/>
                  </a:lnTo>
                  <a:lnTo>
                    <a:pt x="1538" y="373"/>
                  </a:lnTo>
                  <a:lnTo>
                    <a:pt x="1519" y="349"/>
                  </a:lnTo>
                  <a:lnTo>
                    <a:pt x="1501" y="326"/>
                  </a:lnTo>
                  <a:lnTo>
                    <a:pt x="1481" y="303"/>
                  </a:lnTo>
                  <a:lnTo>
                    <a:pt x="1460" y="280"/>
                  </a:lnTo>
                  <a:close/>
                  <a:moveTo>
                    <a:pt x="1880" y="2583"/>
                  </a:moveTo>
                  <a:lnTo>
                    <a:pt x="1897" y="2563"/>
                  </a:lnTo>
                  <a:lnTo>
                    <a:pt x="1914" y="2543"/>
                  </a:lnTo>
                  <a:lnTo>
                    <a:pt x="1929" y="2522"/>
                  </a:lnTo>
                  <a:lnTo>
                    <a:pt x="1944" y="2500"/>
                  </a:lnTo>
                  <a:lnTo>
                    <a:pt x="1958" y="2477"/>
                  </a:lnTo>
                  <a:lnTo>
                    <a:pt x="1970" y="2454"/>
                  </a:lnTo>
                  <a:lnTo>
                    <a:pt x="1981" y="2430"/>
                  </a:lnTo>
                  <a:lnTo>
                    <a:pt x="1991" y="2405"/>
                  </a:lnTo>
                  <a:lnTo>
                    <a:pt x="1957" y="2415"/>
                  </a:lnTo>
                  <a:lnTo>
                    <a:pt x="1921" y="2423"/>
                  </a:lnTo>
                  <a:lnTo>
                    <a:pt x="1885" y="2431"/>
                  </a:lnTo>
                  <a:lnTo>
                    <a:pt x="1850" y="2439"/>
                  </a:lnTo>
                  <a:lnTo>
                    <a:pt x="1814" y="2446"/>
                  </a:lnTo>
                  <a:lnTo>
                    <a:pt x="1777" y="2452"/>
                  </a:lnTo>
                  <a:lnTo>
                    <a:pt x="1741" y="2457"/>
                  </a:lnTo>
                  <a:lnTo>
                    <a:pt x="1706" y="2462"/>
                  </a:lnTo>
                  <a:lnTo>
                    <a:pt x="1633" y="2471"/>
                  </a:lnTo>
                  <a:lnTo>
                    <a:pt x="1561" y="2477"/>
                  </a:lnTo>
                  <a:lnTo>
                    <a:pt x="1487" y="2482"/>
                  </a:lnTo>
                  <a:lnTo>
                    <a:pt x="1414" y="2483"/>
                  </a:lnTo>
                  <a:lnTo>
                    <a:pt x="1414" y="2664"/>
                  </a:lnTo>
                  <a:lnTo>
                    <a:pt x="1444" y="2664"/>
                  </a:lnTo>
                  <a:lnTo>
                    <a:pt x="1473" y="2662"/>
                  </a:lnTo>
                  <a:lnTo>
                    <a:pt x="1503" y="2660"/>
                  </a:lnTo>
                  <a:lnTo>
                    <a:pt x="1533" y="2658"/>
                  </a:lnTo>
                  <a:lnTo>
                    <a:pt x="1562" y="2655"/>
                  </a:lnTo>
                  <a:lnTo>
                    <a:pt x="1592" y="2652"/>
                  </a:lnTo>
                  <a:lnTo>
                    <a:pt x="1620" y="2647"/>
                  </a:lnTo>
                  <a:lnTo>
                    <a:pt x="1650" y="2643"/>
                  </a:lnTo>
                  <a:lnTo>
                    <a:pt x="1679" y="2637"/>
                  </a:lnTo>
                  <a:lnTo>
                    <a:pt x="1708" y="2631"/>
                  </a:lnTo>
                  <a:lnTo>
                    <a:pt x="1737" y="2624"/>
                  </a:lnTo>
                  <a:lnTo>
                    <a:pt x="1766" y="2617"/>
                  </a:lnTo>
                  <a:lnTo>
                    <a:pt x="1794" y="2609"/>
                  </a:lnTo>
                  <a:lnTo>
                    <a:pt x="1823" y="2601"/>
                  </a:lnTo>
                  <a:lnTo>
                    <a:pt x="1851" y="2592"/>
                  </a:lnTo>
                  <a:lnTo>
                    <a:pt x="1880" y="2583"/>
                  </a:lnTo>
                  <a:close/>
                  <a:moveTo>
                    <a:pt x="2008" y="2361"/>
                  </a:moveTo>
                  <a:lnTo>
                    <a:pt x="2016" y="2336"/>
                  </a:lnTo>
                  <a:lnTo>
                    <a:pt x="2023" y="2312"/>
                  </a:lnTo>
                  <a:lnTo>
                    <a:pt x="2028" y="2287"/>
                  </a:lnTo>
                  <a:lnTo>
                    <a:pt x="2034" y="2263"/>
                  </a:lnTo>
                  <a:lnTo>
                    <a:pt x="2039" y="2237"/>
                  </a:lnTo>
                  <a:lnTo>
                    <a:pt x="2043" y="2213"/>
                  </a:lnTo>
                  <a:lnTo>
                    <a:pt x="2047" y="2188"/>
                  </a:lnTo>
                  <a:lnTo>
                    <a:pt x="2050" y="2162"/>
                  </a:lnTo>
                  <a:lnTo>
                    <a:pt x="2055" y="2112"/>
                  </a:lnTo>
                  <a:lnTo>
                    <a:pt x="2057" y="2062"/>
                  </a:lnTo>
                  <a:lnTo>
                    <a:pt x="2058" y="2011"/>
                  </a:lnTo>
                  <a:lnTo>
                    <a:pt x="2058" y="1961"/>
                  </a:lnTo>
                  <a:lnTo>
                    <a:pt x="2019" y="1971"/>
                  </a:lnTo>
                  <a:lnTo>
                    <a:pt x="1979" y="1980"/>
                  </a:lnTo>
                  <a:lnTo>
                    <a:pt x="1940" y="1988"/>
                  </a:lnTo>
                  <a:lnTo>
                    <a:pt x="1899" y="1996"/>
                  </a:lnTo>
                  <a:lnTo>
                    <a:pt x="1859" y="2005"/>
                  </a:lnTo>
                  <a:lnTo>
                    <a:pt x="1820" y="2010"/>
                  </a:lnTo>
                  <a:lnTo>
                    <a:pt x="1779" y="2017"/>
                  </a:lnTo>
                  <a:lnTo>
                    <a:pt x="1739" y="2022"/>
                  </a:lnTo>
                  <a:lnTo>
                    <a:pt x="1698" y="2028"/>
                  </a:lnTo>
                  <a:lnTo>
                    <a:pt x="1657" y="2031"/>
                  </a:lnTo>
                  <a:lnTo>
                    <a:pt x="1617" y="2034"/>
                  </a:lnTo>
                  <a:lnTo>
                    <a:pt x="1577" y="2038"/>
                  </a:lnTo>
                  <a:lnTo>
                    <a:pt x="1495" y="2043"/>
                  </a:lnTo>
                  <a:lnTo>
                    <a:pt x="1414" y="2045"/>
                  </a:lnTo>
                  <a:lnTo>
                    <a:pt x="1414" y="2443"/>
                  </a:lnTo>
                  <a:lnTo>
                    <a:pt x="1489" y="2442"/>
                  </a:lnTo>
                  <a:lnTo>
                    <a:pt x="1564" y="2438"/>
                  </a:lnTo>
                  <a:lnTo>
                    <a:pt x="1602" y="2434"/>
                  </a:lnTo>
                  <a:lnTo>
                    <a:pt x="1639" y="2431"/>
                  </a:lnTo>
                  <a:lnTo>
                    <a:pt x="1677" y="2426"/>
                  </a:lnTo>
                  <a:lnTo>
                    <a:pt x="1714" y="2422"/>
                  </a:lnTo>
                  <a:lnTo>
                    <a:pt x="1752" y="2417"/>
                  </a:lnTo>
                  <a:lnTo>
                    <a:pt x="1789" y="2410"/>
                  </a:lnTo>
                  <a:lnTo>
                    <a:pt x="1826" y="2403"/>
                  </a:lnTo>
                  <a:lnTo>
                    <a:pt x="1862" y="2396"/>
                  </a:lnTo>
                  <a:lnTo>
                    <a:pt x="1899" y="2388"/>
                  </a:lnTo>
                  <a:lnTo>
                    <a:pt x="1936" y="2380"/>
                  </a:lnTo>
                  <a:lnTo>
                    <a:pt x="1972" y="2370"/>
                  </a:lnTo>
                  <a:lnTo>
                    <a:pt x="2008" y="2361"/>
                  </a:lnTo>
                  <a:close/>
                  <a:moveTo>
                    <a:pt x="2057" y="1920"/>
                  </a:moveTo>
                  <a:lnTo>
                    <a:pt x="2054" y="1863"/>
                  </a:lnTo>
                  <a:lnTo>
                    <a:pt x="2049" y="1805"/>
                  </a:lnTo>
                  <a:lnTo>
                    <a:pt x="2043" y="1748"/>
                  </a:lnTo>
                  <a:lnTo>
                    <a:pt x="2035" y="1690"/>
                  </a:lnTo>
                  <a:lnTo>
                    <a:pt x="2026" y="1634"/>
                  </a:lnTo>
                  <a:lnTo>
                    <a:pt x="2017" y="1576"/>
                  </a:lnTo>
                  <a:lnTo>
                    <a:pt x="2005" y="1519"/>
                  </a:lnTo>
                  <a:lnTo>
                    <a:pt x="1994" y="1463"/>
                  </a:lnTo>
                  <a:lnTo>
                    <a:pt x="1958" y="1472"/>
                  </a:lnTo>
                  <a:lnTo>
                    <a:pt x="1922" y="1481"/>
                  </a:lnTo>
                  <a:lnTo>
                    <a:pt x="1888" y="1490"/>
                  </a:lnTo>
                  <a:lnTo>
                    <a:pt x="1851" y="1496"/>
                  </a:lnTo>
                  <a:lnTo>
                    <a:pt x="1815" y="1503"/>
                  </a:lnTo>
                  <a:lnTo>
                    <a:pt x="1779" y="1510"/>
                  </a:lnTo>
                  <a:lnTo>
                    <a:pt x="1743" y="1515"/>
                  </a:lnTo>
                  <a:lnTo>
                    <a:pt x="1707" y="1521"/>
                  </a:lnTo>
                  <a:lnTo>
                    <a:pt x="1633" y="1529"/>
                  </a:lnTo>
                  <a:lnTo>
                    <a:pt x="1561" y="1534"/>
                  </a:lnTo>
                  <a:lnTo>
                    <a:pt x="1487" y="1538"/>
                  </a:lnTo>
                  <a:lnTo>
                    <a:pt x="1414" y="1539"/>
                  </a:lnTo>
                  <a:lnTo>
                    <a:pt x="1414" y="2006"/>
                  </a:lnTo>
                  <a:lnTo>
                    <a:pt x="1496" y="2003"/>
                  </a:lnTo>
                  <a:lnTo>
                    <a:pt x="1577" y="1999"/>
                  </a:lnTo>
                  <a:lnTo>
                    <a:pt x="1617" y="1996"/>
                  </a:lnTo>
                  <a:lnTo>
                    <a:pt x="1657" y="1992"/>
                  </a:lnTo>
                  <a:lnTo>
                    <a:pt x="1698" y="1988"/>
                  </a:lnTo>
                  <a:lnTo>
                    <a:pt x="1738" y="1983"/>
                  </a:lnTo>
                  <a:lnTo>
                    <a:pt x="1778" y="1978"/>
                  </a:lnTo>
                  <a:lnTo>
                    <a:pt x="1819" y="1971"/>
                  </a:lnTo>
                  <a:lnTo>
                    <a:pt x="1859" y="1964"/>
                  </a:lnTo>
                  <a:lnTo>
                    <a:pt x="1898" y="1957"/>
                  </a:lnTo>
                  <a:lnTo>
                    <a:pt x="1938" y="1949"/>
                  </a:lnTo>
                  <a:lnTo>
                    <a:pt x="1978" y="1940"/>
                  </a:lnTo>
                  <a:lnTo>
                    <a:pt x="2018" y="1931"/>
                  </a:lnTo>
                  <a:lnTo>
                    <a:pt x="2057" y="1920"/>
                  </a:lnTo>
                  <a:close/>
                  <a:moveTo>
                    <a:pt x="1984" y="1425"/>
                  </a:moveTo>
                  <a:lnTo>
                    <a:pt x="1971" y="1366"/>
                  </a:lnTo>
                  <a:lnTo>
                    <a:pt x="1956" y="1309"/>
                  </a:lnTo>
                  <a:lnTo>
                    <a:pt x="1940" y="1251"/>
                  </a:lnTo>
                  <a:lnTo>
                    <a:pt x="1922" y="1193"/>
                  </a:lnTo>
                  <a:lnTo>
                    <a:pt x="1904" y="1136"/>
                  </a:lnTo>
                  <a:lnTo>
                    <a:pt x="1884" y="1079"/>
                  </a:lnTo>
                  <a:lnTo>
                    <a:pt x="1865" y="1023"/>
                  </a:lnTo>
                  <a:lnTo>
                    <a:pt x="1844" y="966"/>
                  </a:lnTo>
                  <a:lnTo>
                    <a:pt x="1791" y="981"/>
                  </a:lnTo>
                  <a:lnTo>
                    <a:pt x="1738" y="993"/>
                  </a:lnTo>
                  <a:lnTo>
                    <a:pt x="1685" y="1003"/>
                  </a:lnTo>
                  <a:lnTo>
                    <a:pt x="1631" y="1013"/>
                  </a:lnTo>
                  <a:lnTo>
                    <a:pt x="1577" y="1019"/>
                  </a:lnTo>
                  <a:lnTo>
                    <a:pt x="1523" y="1024"/>
                  </a:lnTo>
                  <a:lnTo>
                    <a:pt x="1468" y="1028"/>
                  </a:lnTo>
                  <a:lnTo>
                    <a:pt x="1414" y="1030"/>
                  </a:lnTo>
                  <a:lnTo>
                    <a:pt x="1414" y="1500"/>
                  </a:lnTo>
                  <a:lnTo>
                    <a:pt x="1487" y="1499"/>
                  </a:lnTo>
                  <a:lnTo>
                    <a:pt x="1558" y="1495"/>
                  </a:lnTo>
                  <a:lnTo>
                    <a:pt x="1630" y="1488"/>
                  </a:lnTo>
                  <a:lnTo>
                    <a:pt x="1702" y="1480"/>
                  </a:lnTo>
                  <a:lnTo>
                    <a:pt x="1738" y="1476"/>
                  </a:lnTo>
                  <a:lnTo>
                    <a:pt x="1774" y="1470"/>
                  </a:lnTo>
                  <a:lnTo>
                    <a:pt x="1808" y="1464"/>
                  </a:lnTo>
                  <a:lnTo>
                    <a:pt x="1844" y="1457"/>
                  </a:lnTo>
                  <a:lnTo>
                    <a:pt x="1880" y="1450"/>
                  </a:lnTo>
                  <a:lnTo>
                    <a:pt x="1914" y="1442"/>
                  </a:lnTo>
                  <a:lnTo>
                    <a:pt x="1950" y="1434"/>
                  </a:lnTo>
                  <a:lnTo>
                    <a:pt x="1984" y="1425"/>
                  </a:lnTo>
                  <a:close/>
                  <a:moveTo>
                    <a:pt x="1827" y="924"/>
                  </a:moveTo>
                  <a:lnTo>
                    <a:pt x="1814" y="892"/>
                  </a:lnTo>
                  <a:lnTo>
                    <a:pt x="1801" y="859"/>
                  </a:lnTo>
                  <a:lnTo>
                    <a:pt x="1787" y="827"/>
                  </a:lnTo>
                  <a:lnTo>
                    <a:pt x="1774" y="795"/>
                  </a:lnTo>
                  <a:lnTo>
                    <a:pt x="1759" y="764"/>
                  </a:lnTo>
                  <a:lnTo>
                    <a:pt x="1745" y="731"/>
                  </a:lnTo>
                  <a:lnTo>
                    <a:pt x="1730" y="700"/>
                  </a:lnTo>
                  <a:lnTo>
                    <a:pt x="1714" y="669"/>
                  </a:lnTo>
                  <a:lnTo>
                    <a:pt x="1677" y="678"/>
                  </a:lnTo>
                  <a:lnTo>
                    <a:pt x="1640" y="687"/>
                  </a:lnTo>
                  <a:lnTo>
                    <a:pt x="1603" y="693"/>
                  </a:lnTo>
                  <a:lnTo>
                    <a:pt x="1565" y="699"/>
                  </a:lnTo>
                  <a:lnTo>
                    <a:pt x="1528" y="704"/>
                  </a:lnTo>
                  <a:lnTo>
                    <a:pt x="1490" y="707"/>
                  </a:lnTo>
                  <a:lnTo>
                    <a:pt x="1452" y="711"/>
                  </a:lnTo>
                  <a:lnTo>
                    <a:pt x="1414" y="712"/>
                  </a:lnTo>
                  <a:lnTo>
                    <a:pt x="1414" y="984"/>
                  </a:lnTo>
                  <a:lnTo>
                    <a:pt x="1466" y="981"/>
                  </a:lnTo>
                  <a:lnTo>
                    <a:pt x="1519" y="978"/>
                  </a:lnTo>
                  <a:lnTo>
                    <a:pt x="1571" y="973"/>
                  </a:lnTo>
                  <a:lnTo>
                    <a:pt x="1623" y="966"/>
                  </a:lnTo>
                  <a:lnTo>
                    <a:pt x="1675" y="958"/>
                  </a:lnTo>
                  <a:lnTo>
                    <a:pt x="1725" y="949"/>
                  </a:lnTo>
                  <a:lnTo>
                    <a:pt x="1777" y="938"/>
                  </a:lnTo>
                  <a:lnTo>
                    <a:pt x="1827" y="924"/>
                  </a:lnTo>
                  <a:close/>
                  <a:moveTo>
                    <a:pt x="1696" y="634"/>
                  </a:moveTo>
                  <a:lnTo>
                    <a:pt x="1680" y="605"/>
                  </a:lnTo>
                  <a:lnTo>
                    <a:pt x="1665" y="576"/>
                  </a:lnTo>
                  <a:lnTo>
                    <a:pt x="1649" y="547"/>
                  </a:lnTo>
                  <a:lnTo>
                    <a:pt x="1633" y="518"/>
                  </a:lnTo>
                  <a:lnTo>
                    <a:pt x="1616" y="490"/>
                  </a:lnTo>
                  <a:lnTo>
                    <a:pt x="1599" y="462"/>
                  </a:lnTo>
                  <a:lnTo>
                    <a:pt x="1580" y="434"/>
                  </a:lnTo>
                  <a:lnTo>
                    <a:pt x="1562" y="407"/>
                  </a:lnTo>
                  <a:lnTo>
                    <a:pt x="1543" y="411"/>
                  </a:lnTo>
                  <a:lnTo>
                    <a:pt x="1525" y="416"/>
                  </a:lnTo>
                  <a:lnTo>
                    <a:pt x="1508" y="420"/>
                  </a:lnTo>
                  <a:lnTo>
                    <a:pt x="1489" y="423"/>
                  </a:lnTo>
                  <a:lnTo>
                    <a:pt x="1451" y="428"/>
                  </a:lnTo>
                  <a:lnTo>
                    <a:pt x="1414" y="431"/>
                  </a:lnTo>
                  <a:lnTo>
                    <a:pt x="1414" y="673"/>
                  </a:lnTo>
                  <a:lnTo>
                    <a:pt x="1450" y="672"/>
                  </a:lnTo>
                  <a:lnTo>
                    <a:pt x="1486" y="669"/>
                  </a:lnTo>
                  <a:lnTo>
                    <a:pt x="1521" y="666"/>
                  </a:lnTo>
                  <a:lnTo>
                    <a:pt x="1556" y="661"/>
                  </a:lnTo>
                  <a:lnTo>
                    <a:pt x="1592" y="657"/>
                  </a:lnTo>
                  <a:lnTo>
                    <a:pt x="1626" y="650"/>
                  </a:lnTo>
                  <a:lnTo>
                    <a:pt x="1662" y="643"/>
                  </a:lnTo>
                  <a:lnTo>
                    <a:pt x="1696" y="634"/>
                  </a:lnTo>
                  <a:close/>
                  <a:moveTo>
                    <a:pt x="1367" y="67"/>
                  </a:moveTo>
                  <a:lnTo>
                    <a:pt x="1342" y="68"/>
                  </a:lnTo>
                  <a:lnTo>
                    <a:pt x="1315" y="69"/>
                  </a:lnTo>
                  <a:lnTo>
                    <a:pt x="1289" y="71"/>
                  </a:lnTo>
                  <a:lnTo>
                    <a:pt x="1263" y="75"/>
                  </a:lnTo>
                  <a:lnTo>
                    <a:pt x="1282" y="83"/>
                  </a:lnTo>
                  <a:lnTo>
                    <a:pt x="1299" y="93"/>
                  </a:lnTo>
                  <a:lnTo>
                    <a:pt x="1308" y="99"/>
                  </a:lnTo>
                  <a:lnTo>
                    <a:pt x="1315" y="106"/>
                  </a:lnTo>
                  <a:lnTo>
                    <a:pt x="1322" y="113"/>
                  </a:lnTo>
                  <a:lnTo>
                    <a:pt x="1329" y="121"/>
                  </a:lnTo>
                  <a:lnTo>
                    <a:pt x="1338" y="120"/>
                  </a:lnTo>
                  <a:lnTo>
                    <a:pt x="1349" y="117"/>
                  </a:lnTo>
                  <a:lnTo>
                    <a:pt x="1358" y="116"/>
                  </a:lnTo>
                  <a:lnTo>
                    <a:pt x="1367" y="116"/>
                  </a:lnTo>
                  <a:lnTo>
                    <a:pt x="1367" y="67"/>
                  </a:lnTo>
                  <a:close/>
                  <a:moveTo>
                    <a:pt x="1180" y="97"/>
                  </a:moveTo>
                  <a:lnTo>
                    <a:pt x="1168" y="101"/>
                  </a:lnTo>
                  <a:lnTo>
                    <a:pt x="1155" y="106"/>
                  </a:lnTo>
                  <a:lnTo>
                    <a:pt x="1144" y="112"/>
                  </a:lnTo>
                  <a:lnTo>
                    <a:pt x="1131" y="119"/>
                  </a:lnTo>
                  <a:lnTo>
                    <a:pt x="1171" y="120"/>
                  </a:lnTo>
                  <a:lnTo>
                    <a:pt x="1210" y="123"/>
                  </a:lnTo>
                  <a:lnTo>
                    <a:pt x="1251" y="128"/>
                  </a:lnTo>
                  <a:lnTo>
                    <a:pt x="1290" y="135"/>
                  </a:lnTo>
                  <a:lnTo>
                    <a:pt x="1278" y="125"/>
                  </a:lnTo>
                  <a:lnTo>
                    <a:pt x="1266" y="117"/>
                  </a:lnTo>
                  <a:lnTo>
                    <a:pt x="1253" y="112"/>
                  </a:lnTo>
                  <a:lnTo>
                    <a:pt x="1238" y="107"/>
                  </a:lnTo>
                  <a:lnTo>
                    <a:pt x="1224" y="104"/>
                  </a:lnTo>
                  <a:lnTo>
                    <a:pt x="1209" y="100"/>
                  </a:lnTo>
                  <a:lnTo>
                    <a:pt x="1194" y="98"/>
                  </a:lnTo>
                  <a:lnTo>
                    <a:pt x="1180" y="97"/>
                  </a:lnTo>
                  <a:close/>
                  <a:moveTo>
                    <a:pt x="1088" y="98"/>
                  </a:moveTo>
                  <a:lnTo>
                    <a:pt x="1061" y="104"/>
                  </a:lnTo>
                  <a:lnTo>
                    <a:pt x="1033" y="109"/>
                  </a:lnTo>
                  <a:lnTo>
                    <a:pt x="1005" y="116"/>
                  </a:lnTo>
                  <a:lnTo>
                    <a:pt x="978" y="123"/>
                  </a:lnTo>
                  <a:lnTo>
                    <a:pt x="1009" y="121"/>
                  </a:lnTo>
                  <a:lnTo>
                    <a:pt x="1035" y="119"/>
                  </a:lnTo>
                  <a:lnTo>
                    <a:pt x="1048" y="115"/>
                  </a:lnTo>
                  <a:lnTo>
                    <a:pt x="1061" y="112"/>
                  </a:lnTo>
                  <a:lnTo>
                    <a:pt x="1074" y="106"/>
                  </a:lnTo>
                  <a:lnTo>
                    <a:pt x="1088" y="98"/>
                  </a:lnTo>
                  <a:close/>
                  <a:moveTo>
                    <a:pt x="1076" y="157"/>
                  </a:moveTo>
                  <a:lnTo>
                    <a:pt x="1069" y="163"/>
                  </a:lnTo>
                  <a:lnTo>
                    <a:pt x="1062" y="172"/>
                  </a:lnTo>
                  <a:lnTo>
                    <a:pt x="1056" y="180"/>
                  </a:lnTo>
                  <a:lnTo>
                    <a:pt x="1050" y="188"/>
                  </a:lnTo>
                  <a:lnTo>
                    <a:pt x="1086" y="180"/>
                  </a:lnTo>
                  <a:lnTo>
                    <a:pt x="1122" y="172"/>
                  </a:lnTo>
                  <a:lnTo>
                    <a:pt x="1157" y="166"/>
                  </a:lnTo>
                  <a:lnTo>
                    <a:pt x="1193" y="161"/>
                  </a:lnTo>
                  <a:lnTo>
                    <a:pt x="1163" y="159"/>
                  </a:lnTo>
                  <a:lnTo>
                    <a:pt x="1134" y="157"/>
                  </a:lnTo>
                  <a:lnTo>
                    <a:pt x="1106" y="157"/>
                  </a:lnTo>
                  <a:lnTo>
                    <a:pt x="1076" y="157"/>
                  </a:lnTo>
                  <a:close/>
                  <a:moveTo>
                    <a:pt x="1024" y="159"/>
                  </a:moveTo>
                  <a:lnTo>
                    <a:pt x="979" y="161"/>
                  </a:lnTo>
                  <a:lnTo>
                    <a:pt x="935" y="166"/>
                  </a:lnTo>
                  <a:lnTo>
                    <a:pt x="913" y="169"/>
                  </a:lnTo>
                  <a:lnTo>
                    <a:pt x="894" y="174"/>
                  </a:lnTo>
                  <a:lnTo>
                    <a:pt x="873" y="180"/>
                  </a:lnTo>
                  <a:lnTo>
                    <a:pt x="853" y="187"/>
                  </a:lnTo>
                  <a:lnTo>
                    <a:pt x="835" y="195"/>
                  </a:lnTo>
                  <a:lnTo>
                    <a:pt x="818" y="204"/>
                  </a:lnTo>
                  <a:lnTo>
                    <a:pt x="801" y="215"/>
                  </a:lnTo>
                  <a:lnTo>
                    <a:pt x="785" y="229"/>
                  </a:lnTo>
                  <a:lnTo>
                    <a:pt x="778" y="236"/>
                  </a:lnTo>
                  <a:lnTo>
                    <a:pt x="770" y="244"/>
                  </a:lnTo>
                  <a:lnTo>
                    <a:pt x="763" y="252"/>
                  </a:lnTo>
                  <a:lnTo>
                    <a:pt x="758" y="261"/>
                  </a:lnTo>
                  <a:lnTo>
                    <a:pt x="751" y="272"/>
                  </a:lnTo>
                  <a:lnTo>
                    <a:pt x="745" y="282"/>
                  </a:lnTo>
                  <a:lnTo>
                    <a:pt x="739" y="293"/>
                  </a:lnTo>
                  <a:lnTo>
                    <a:pt x="735" y="304"/>
                  </a:lnTo>
                  <a:lnTo>
                    <a:pt x="767" y="289"/>
                  </a:lnTo>
                  <a:lnTo>
                    <a:pt x="800" y="274"/>
                  </a:lnTo>
                  <a:lnTo>
                    <a:pt x="834" y="260"/>
                  </a:lnTo>
                  <a:lnTo>
                    <a:pt x="867" y="246"/>
                  </a:lnTo>
                  <a:lnTo>
                    <a:pt x="900" y="234"/>
                  </a:lnTo>
                  <a:lnTo>
                    <a:pt x="935" y="222"/>
                  </a:lnTo>
                  <a:lnTo>
                    <a:pt x="970" y="211"/>
                  </a:lnTo>
                  <a:lnTo>
                    <a:pt x="1004" y="200"/>
                  </a:lnTo>
                  <a:lnTo>
                    <a:pt x="1008" y="190"/>
                  </a:lnTo>
                  <a:lnTo>
                    <a:pt x="1012" y="178"/>
                  </a:lnTo>
                  <a:lnTo>
                    <a:pt x="1017" y="168"/>
                  </a:lnTo>
                  <a:lnTo>
                    <a:pt x="1024" y="159"/>
                  </a:lnTo>
                  <a:close/>
                  <a:moveTo>
                    <a:pt x="1040" y="231"/>
                  </a:moveTo>
                  <a:lnTo>
                    <a:pt x="1040" y="240"/>
                  </a:lnTo>
                  <a:lnTo>
                    <a:pt x="1041" y="246"/>
                  </a:lnTo>
                  <a:lnTo>
                    <a:pt x="1043" y="254"/>
                  </a:lnTo>
                  <a:lnTo>
                    <a:pt x="1047" y="261"/>
                  </a:lnTo>
                  <a:lnTo>
                    <a:pt x="1054" y="275"/>
                  </a:lnTo>
                  <a:lnTo>
                    <a:pt x="1063" y="288"/>
                  </a:lnTo>
                  <a:lnTo>
                    <a:pt x="1104" y="264"/>
                  </a:lnTo>
                  <a:lnTo>
                    <a:pt x="1148" y="241"/>
                  </a:lnTo>
                  <a:lnTo>
                    <a:pt x="1169" y="230"/>
                  </a:lnTo>
                  <a:lnTo>
                    <a:pt x="1192" y="220"/>
                  </a:lnTo>
                  <a:lnTo>
                    <a:pt x="1214" y="211"/>
                  </a:lnTo>
                  <a:lnTo>
                    <a:pt x="1237" y="203"/>
                  </a:lnTo>
                  <a:lnTo>
                    <a:pt x="1237" y="197"/>
                  </a:lnTo>
                  <a:lnTo>
                    <a:pt x="1211" y="198"/>
                  </a:lnTo>
                  <a:lnTo>
                    <a:pt x="1187" y="200"/>
                  </a:lnTo>
                  <a:lnTo>
                    <a:pt x="1162" y="204"/>
                  </a:lnTo>
                  <a:lnTo>
                    <a:pt x="1137" y="207"/>
                  </a:lnTo>
                  <a:lnTo>
                    <a:pt x="1112" y="213"/>
                  </a:lnTo>
                  <a:lnTo>
                    <a:pt x="1088" y="219"/>
                  </a:lnTo>
                  <a:lnTo>
                    <a:pt x="1063" y="225"/>
                  </a:lnTo>
                  <a:lnTo>
                    <a:pt x="1040" y="231"/>
                  </a:lnTo>
                  <a:close/>
                  <a:moveTo>
                    <a:pt x="1001" y="242"/>
                  </a:moveTo>
                  <a:lnTo>
                    <a:pt x="965" y="253"/>
                  </a:lnTo>
                  <a:lnTo>
                    <a:pt x="929" y="265"/>
                  </a:lnTo>
                  <a:lnTo>
                    <a:pt x="895" y="278"/>
                  </a:lnTo>
                  <a:lnTo>
                    <a:pt x="859" y="291"/>
                  </a:lnTo>
                  <a:lnTo>
                    <a:pt x="824" y="306"/>
                  </a:lnTo>
                  <a:lnTo>
                    <a:pt x="790" y="321"/>
                  </a:lnTo>
                  <a:lnTo>
                    <a:pt x="756" y="336"/>
                  </a:lnTo>
                  <a:lnTo>
                    <a:pt x="722" y="354"/>
                  </a:lnTo>
                  <a:lnTo>
                    <a:pt x="722" y="364"/>
                  </a:lnTo>
                  <a:lnTo>
                    <a:pt x="722" y="374"/>
                  </a:lnTo>
                  <a:lnTo>
                    <a:pt x="723" y="386"/>
                  </a:lnTo>
                  <a:lnTo>
                    <a:pt x="725" y="396"/>
                  </a:lnTo>
                  <a:lnTo>
                    <a:pt x="728" y="405"/>
                  </a:lnTo>
                  <a:lnTo>
                    <a:pt x="731" y="416"/>
                  </a:lnTo>
                  <a:lnTo>
                    <a:pt x="736" y="425"/>
                  </a:lnTo>
                  <a:lnTo>
                    <a:pt x="740" y="434"/>
                  </a:lnTo>
                  <a:lnTo>
                    <a:pt x="751" y="453"/>
                  </a:lnTo>
                  <a:lnTo>
                    <a:pt x="763" y="470"/>
                  </a:lnTo>
                  <a:lnTo>
                    <a:pt x="777" y="486"/>
                  </a:lnTo>
                  <a:lnTo>
                    <a:pt x="792" y="501"/>
                  </a:lnTo>
                  <a:lnTo>
                    <a:pt x="820" y="475"/>
                  </a:lnTo>
                  <a:lnTo>
                    <a:pt x="849" y="449"/>
                  </a:lnTo>
                  <a:lnTo>
                    <a:pt x="877" y="424"/>
                  </a:lnTo>
                  <a:lnTo>
                    <a:pt x="907" y="400"/>
                  </a:lnTo>
                  <a:lnTo>
                    <a:pt x="937" y="375"/>
                  </a:lnTo>
                  <a:lnTo>
                    <a:pt x="967" y="352"/>
                  </a:lnTo>
                  <a:lnTo>
                    <a:pt x="998" y="331"/>
                  </a:lnTo>
                  <a:lnTo>
                    <a:pt x="1031" y="309"/>
                  </a:lnTo>
                  <a:lnTo>
                    <a:pt x="1020" y="294"/>
                  </a:lnTo>
                  <a:lnTo>
                    <a:pt x="1011" y="278"/>
                  </a:lnTo>
                  <a:lnTo>
                    <a:pt x="1008" y="269"/>
                  </a:lnTo>
                  <a:lnTo>
                    <a:pt x="1005" y="260"/>
                  </a:lnTo>
                  <a:lnTo>
                    <a:pt x="1003" y="251"/>
                  </a:lnTo>
                  <a:lnTo>
                    <a:pt x="1001" y="242"/>
                  </a:lnTo>
                  <a:close/>
                  <a:moveTo>
                    <a:pt x="683" y="374"/>
                  </a:moveTo>
                  <a:lnTo>
                    <a:pt x="656" y="389"/>
                  </a:lnTo>
                  <a:lnTo>
                    <a:pt x="629" y="404"/>
                  </a:lnTo>
                  <a:lnTo>
                    <a:pt x="602" y="422"/>
                  </a:lnTo>
                  <a:lnTo>
                    <a:pt x="576" y="438"/>
                  </a:lnTo>
                  <a:lnTo>
                    <a:pt x="549" y="455"/>
                  </a:lnTo>
                  <a:lnTo>
                    <a:pt x="524" y="473"/>
                  </a:lnTo>
                  <a:lnTo>
                    <a:pt x="498" y="492"/>
                  </a:lnTo>
                  <a:lnTo>
                    <a:pt x="473" y="511"/>
                  </a:lnTo>
                  <a:lnTo>
                    <a:pt x="472" y="528"/>
                  </a:lnTo>
                  <a:lnTo>
                    <a:pt x="473" y="545"/>
                  </a:lnTo>
                  <a:lnTo>
                    <a:pt x="474" y="561"/>
                  </a:lnTo>
                  <a:lnTo>
                    <a:pt x="477" y="577"/>
                  </a:lnTo>
                  <a:lnTo>
                    <a:pt x="480" y="592"/>
                  </a:lnTo>
                  <a:lnTo>
                    <a:pt x="485" y="607"/>
                  </a:lnTo>
                  <a:lnTo>
                    <a:pt x="490" y="622"/>
                  </a:lnTo>
                  <a:lnTo>
                    <a:pt x="496" y="637"/>
                  </a:lnTo>
                  <a:lnTo>
                    <a:pt x="503" y="652"/>
                  </a:lnTo>
                  <a:lnTo>
                    <a:pt x="511" y="666"/>
                  </a:lnTo>
                  <a:lnTo>
                    <a:pt x="520" y="678"/>
                  </a:lnTo>
                  <a:lnTo>
                    <a:pt x="530" y="692"/>
                  </a:lnTo>
                  <a:lnTo>
                    <a:pt x="540" y="705"/>
                  </a:lnTo>
                  <a:lnTo>
                    <a:pt x="550" y="718"/>
                  </a:lnTo>
                  <a:lnTo>
                    <a:pt x="562" y="729"/>
                  </a:lnTo>
                  <a:lnTo>
                    <a:pt x="573" y="741"/>
                  </a:lnTo>
                  <a:lnTo>
                    <a:pt x="596" y="713"/>
                  </a:lnTo>
                  <a:lnTo>
                    <a:pt x="618" y="685"/>
                  </a:lnTo>
                  <a:lnTo>
                    <a:pt x="642" y="659"/>
                  </a:lnTo>
                  <a:lnTo>
                    <a:pt x="665" y="631"/>
                  </a:lnTo>
                  <a:lnTo>
                    <a:pt x="690" y="605"/>
                  </a:lnTo>
                  <a:lnTo>
                    <a:pt x="714" y="579"/>
                  </a:lnTo>
                  <a:lnTo>
                    <a:pt x="739" y="554"/>
                  </a:lnTo>
                  <a:lnTo>
                    <a:pt x="765" y="529"/>
                  </a:lnTo>
                  <a:lnTo>
                    <a:pt x="748" y="513"/>
                  </a:lnTo>
                  <a:lnTo>
                    <a:pt x="733" y="495"/>
                  </a:lnTo>
                  <a:lnTo>
                    <a:pt x="721" y="478"/>
                  </a:lnTo>
                  <a:lnTo>
                    <a:pt x="709" y="458"/>
                  </a:lnTo>
                  <a:lnTo>
                    <a:pt x="699" y="439"/>
                  </a:lnTo>
                  <a:lnTo>
                    <a:pt x="691" y="418"/>
                  </a:lnTo>
                  <a:lnTo>
                    <a:pt x="688" y="407"/>
                  </a:lnTo>
                  <a:lnTo>
                    <a:pt x="686" y="396"/>
                  </a:lnTo>
                  <a:lnTo>
                    <a:pt x="684" y="385"/>
                  </a:lnTo>
                  <a:lnTo>
                    <a:pt x="683" y="374"/>
                  </a:lnTo>
                  <a:close/>
                  <a:moveTo>
                    <a:pt x="427" y="549"/>
                  </a:moveTo>
                  <a:lnTo>
                    <a:pt x="389" y="583"/>
                  </a:lnTo>
                  <a:lnTo>
                    <a:pt x="353" y="619"/>
                  </a:lnTo>
                  <a:lnTo>
                    <a:pt x="318" y="655"/>
                  </a:lnTo>
                  <a:lnTo>
                    <a:pt x="285" y="695"/>
                  </a:lnTo>
                  <a:lnTo>
                    <a:pt x="269" y="714"/>
                  </a:lnTo>
                  <a:lnTo>
                    <a:pt x="253" y="735"/>
                  </a:lnTo>
                  <a:lnTo>
                    <a:pt x="238" y="756"/>
                  </a:lnTo>
                  <a:lnTo>
                    <a:pt x="224" y="776"/>
                  </a:lnTo>
                  <a:lnTo>
                    <a:pt x="210" y="797"/>
                  </a:lnTo>
                  <a:lnTo>
                    <a:pt x="197" y="819"/>
                  </a:lnTo>
                  <a:lnTo>
                    <a:pt x="184" y="841"/>
                  </a:lnTo>
                  <a:lnTo>
                    <a:pt x="171" y="864"/>
                  </a:lnTo>
                  <a:lnTo>
                    <a:pt x="172" y="886"/>
                  </a:lnTo>
                  <a:lnTo>
                    <a:pt x="174" y="908"/>
                  </a:lnTo>
                  <a:lnTo>
                    <a:pt x="177" y="928"/>
                  </a:lnTo>
                  <a:lnTo>
                    <a:pt x="180" y="950"/>
                  </a:lnTo>
                  <a:lnTo>
                    <a:pt x="185" y="971"/>
                  </a:lnTo>
                  <a:lnTo>
                    <a:pt x="192" y="992"/>
                  </a:lnTo>
                  <a:lnTo>
                    <a:pt x="199" y="1011"/>
                  </a:lnTo>
                  <a:lnTo>
                    <a:pt x="207" y="1031"/>
                  </a:lnTo>
                  <a:lnTo>
                    <a:pt x="216" y="1051"/>
                  </a:lnTo>
                  <a:lnTo>
                    <a:pt x="227" y="1070"/>
                  </a:lnTo>
                  <a:lnTo>
                    <a:pt x="237" y="1089"/>
                  </a:lnTo>
                  <a:lnTo>
                    <a:pt x="250" y="1106"/>
                  </a:lnTo>
                  <a:lnTo>
                    <a:pt x="262" y="1123"/>
                  </a:lnTo>
                  <a:lnTo>
                    <a:pt x="275" y="1140"/>
                  </a:lnTo>
                  <a:lnTo>
                    <a:pt x="290" y="1157"/>
                  </a:lnTo>
                  <a:lnTo>
                    <a:pt x="305" y="1173"/>
                  </a:lnTo>
                  <a:lnTo>
                    <a:pt x="329" y="1121"/>
                  </a:lnTo>
                  <a:lnTo>
                    <a:pt x="357" y="1069"/>
                  </a:lnTo>
                  <a:lnTo>
                    <a:pt x="384" y="1018"/>
                  </a:lnTo>
                  <a:lnTo>
                    <a:pt x="414" y="969"/>
                  </a:lnTo>
                  <a:lnTo>
                    <a:pt x="445" y="919"/>
                  </a:lnTo>
                  <a:lnTo>
                    <a:pt x="478" y="871"/>
                  </a:lnTo>
                  <a:lnTo>
                    <a:pt x="511" y="824"/>
                  </a:lnTo>
                  <a:lnTo>
                    <a:pt x="546" y="776"/>
                  </a:lnTo>
                  <a:lnTo>
                    <a:pt x="534" y="766"/>
                  </a:lnTo>
                  <a:lnTo>
                    <a:pt x="523" y="753"/>
                  </a:lnTo>
                  <a:lnTo>
                    <a:pt x="511" y="742"/>
                  </a:lnTo>
                  <a:lnTo>
                    <a:pt x="501" y="729"/>
                  </a:lnTo>
                  <a:lnTo>
                    <a:pt x="490" y="715"/>
                  </a:lnTo>
                  <a:lnTo>
                    <a:pt x="481" y="703"/>
                  </a:lnTo>
                  <a:lnTo>
                    <a:pt x="472" y="689"/>
                  </a:lnTo>
                  <a:lnTo>
                    <a:pt x="464" y="674"/>
                  </a:lnTo>
                  <a:lnTo>
                    <a:pt x="456" y="660"/>
                  </a:lnTo>
                  <a:lnTo>
                    <a:pt x="450" y="645"/>
                  </a:lnTo>
                  <a:lnTo>
                    <a:pt x="443" y="630"/>
                  </a:lnTo>
                  <a:lnTo>
                    <a:pt x="439" y="614"/>
                  </a:lnTo>
                  <a:lnTo>
                    <a:pt x="434" y="598"/>
                  </a:lnTo>
                  <a:lnTo>
                    <a:pt x="430" y="582"/>
                  </a:lnTo>
                  <a:lnTo>
                    <a:pt x="428" y="566"/>
                  </a:lnTo>
                  <a:lnTo>
                    <a:pt x="427" y="549"/>
                  </a:lnTo>
                  <a:close/>
                  <a:moveTo>
                    <a:pt x="1093" y="316"/>
                  </a:moveTo>
                  <a:lnTo>
                    <a:pt x="1112" y="329"/>
                  </a:lnTo>
                  <a:lnTo>
                    <a:pt x="1134" y="341"/>
                  </a:lnTo>
                  <a:lnTo>
                    <a:pt x="1156" y="351"/>
                  </a:lnTo>
                  <a:lnTo>
                    <a:pt x="1179" y="360"/>
                  </a:lnTo>
                  <a:lnTo>
                    <a:pt x="1199" y="334"/>
                  </a:lnTo>
                  <a:lnTo>
                    <a:pt x="1218" y="309"/>
                  </a:lnTo>
                  <a:lnTo>
                    <a:pt x="1240" y="283"/>
                  </a:lnTo>
                  <a:lnTo>
                    <a:pt x="1262" y="258"/>
                  </a:lnTo>
                  <a:lnTo>
                    <a:pt x="1253" y="250"/>
                  </a:lnTo>
                  <a:lnTo>
                    <a:pt x="1246" y="241"/>
                  </a:lnTo>
                  <a:lnTo>
                    <a:pt x="1226" y="248"/>
                  </a:lnTo>
                  <a:lnTo>
                    <a:pt x="1207" y="256"/>
                  </a:lnTo>
                  <a:lnTo>
                    <a:pt x="1187" y="265"/>
                  </a:lnTo>
                  <a:lnTo>
                    <a:pt x="1168" y="274"/>
                  </a:lnTo>
                  <a:lnTo>
                    <a:pt x="1130" y="294"/>
                  </a:lnTo>
                  <a:lnTo>
                    <a:pt x="1093" y="316"/>
                  </a:lnTo>
                  <a:close/>
                  <a:moveTo>
                    <a:pt x="1058" y="337"/>
                  </a:moveTo>
                  <a:lnTo>
                    <a:pt x="1027" y="358"/>
                  </a:lnTo>
                  <a:lnTo>
                    <a:pt x="996" y="380"/>
                  </a:lnTo>
                  <a:lnTo>
                    <a:pt x="965" y="403"/>
                  </a:lnTo>
                  <a:lnTo>
                    <a:pt x="936" y="426"/>
                  </a:lnTo>
                  <a:lnTo>
                    <a:pt x="906" y="450"/>
                  </a:lnTo>
                  <a:lnTo>
                    <a:pt x="877" y="476"/>
                  </a:lnTo>
                  <a:lnTo>
                    <a:pt x="850" y="501"/>
                  </a:lnTo>
                  <a:lnTo>
                    <a:pt x="822" y="526"/>
                  </a:lnTo>
                  <a:lnTo>
                    <a:pt x="844" y="543"/>
                  </a:lnTo>
                  <a:lnTo>
                    <a:pt x="868" y="557"/>
                  </a:lnTo>
                  <a:lnTo>
                    <a:pt x="892" y="570"/>
                  </a:lnTo>
                  <a:lnTo>
                    <a:pt x="918" y="583"/>
                  </a:lnTo>
                  <a:lnTo>
                    <a:pt x="943" y="594"/>
                  </a:lnTo>
                  <a:lnTo>
                    <a:pt x="968" y="605"/>
                  </a:lnTo>
                  <a:lnTo>
                    <a:pt x="995" y="614"/>
                  </a:lnTo>
                  <a:lnTo>
                    <a:pt x="1021" y="623"/>
                  </a:lnTo>
                  <a:lnTo>
                    <a:pt x="1036" y="593"/>
                  </a:lnTo>
                  <a:lnTo>
                    <a:pt x="1053" y="564"/>
                  </a:lnTo>
                  <a:lnTo>
                    <a:pt x="1069" y="534"/>
                  </a:lnTo>
                  <a:lnTo>
                    <a:pt x="1085" y="506"/>
                  </a:lnTo>
                  <a:lnTo>
                    <a:pt x="1102" y="477"/>
                  </a:lnTo>
                  <a:lnTo>
                    <a:pt x="1119" y="449"/>
                  </a:lnTo>
                  <a:lnTo>
                    <a:pt x="1138" y="422"/>
                  </a:lnTo>
                  <a:lnTo>
                    <a:pt x="1156" y="393"/>
                  </a:lnTo>
                  <a:lnTo>
                    <a:pt x="1130" y="382"/>
                  </a:lnTo>
                  <a:lnTo>
                    <a:pt x="1104" y="370"/>
                  </a:lnTo>
                  <a:lnTo>
                    <a:pt x="1093" y="363"/>
                  </a:lnTo>
                  <a:lnTo>
                    <a:pt x="1080" y="355"/>
                  </a:lnTo>
                  <a:lnTo>
                    <a:pt x="1069" y="347"/>
                  </a:lnTo>
                  <a:lnTo>
                    <a:pt x="1058" y="337"/>
                  </a:lnTo>
                  <a:close/>
                  <a:moveTo>
                    <a:pt x="793" y="554"/>
                  </a:moveTo>
                  <a:lnTo>
                    <a:pt x="768" y="579"/>
                  </a:lnTo>
                  <a:lnTo>
                    <a:pt x="744" y="605"/>
                  </a:lnTo>
                  <a:lnTo>
                    <a:pt x="720" y="631"/>
                  </a:lnTo>
                  <a:lnTo>
                    <a:pt x="695" y="658"/>
                  </a:lnTo>
                  <a:lnTo>
                    <a:pt x="671" y="684"/>
                  </a:lnTo>
                  <a:lnTo>
                    <a:pt x="648" y="711"/>
                  </a:lnTo>
                  <a:lnTo>
                    <a:pt x="625" y="738"/>
                  </a:lnTo>
                  <a:lnTo>
                    <a:pt x="603" y="766"/>
                  </a:lnTo>
                  <a:lnTo>
                    <a:pt x="618" y="779"/>
                  </a:lnTo>
                  <a:lnTo>
                    <a:pt x="635" y="791"/>
                  </a:lnTo>
                  <a:lnTo>
                    <a:pt x="652" y="803"/>
                  </a:lnTo>
                  <a:lnTo>
                    <a:pt x="669" y="813"/>
                  </a:lnTo>
                  <a:lnTo>
                    <a:pt x="703" y="834"/>
                  </a:lnTo>
                  <a:lnTo>
                    <a:pt x="740" y="854"/>
                  </a:lnTo>
                  <a:lnTo>
                    <a:pt x="777" y="871"/>
                  </a:lnTo>
                  <a:lnTo>
                    <a:pt x="814" y="886"/>
                  </a:lnTo>
                  <a:lnTo>
                    <a:pt x="852" y="900"/>
                  </a:lnTo>
                  <a:lnTo>
                    <a:pt x="891" y="912"/>
                  </a:lnTo>
                  <a:lnTo>
                    <a:pt x="904" y="880"/>
                  </a:lnTo>
                  <a:lnTo>
                    <a:pt x="917" y="848"/>
                  </a:lnTo>
                  <a:lnTo>
                    <a:pt x="930" y="817"/>
                  </a:lnTo>
                  <a:lnTo>
                    <a:pt x="944" y="784"/>
                  </a:lnTo>
                  <a:lnTo>
                    <a:pt x="959" y="752"/>
                  </a:lnTo>
                  <a:lnTo>
                    <a:pt x="973" y="721"/>
                  </a:lnTo>
                  <a:lnTo>
                    <a:pt x="988" y="689"/>
                  </a:lnTo>
                  <a:lnTo>
                    <a:pt x="1003" y="658"/>
                  </a:lnTo>
                  <a:lnTo>
                    <a:pt x="975" y="649"/>
                  </a:lnTo>
                  <a:lnTo>
                    <a:pt x="948" y="638"/>
                  </a:lnTo>
                  <a:lnTo>
                    <a:pt x="921" y="628"/>
                  </a:lnTo>
                  <a:lnTo>
                    <a:pt x="894" y="615"/>
                  </a:lnTo>
                  <a:lnTo>
                    <a:pt x="868" y="601"/>
                  </a:lnTo>
                  <a:lnTo>
                    <a:pt x="842" y="586"/>
                  </a:lnTo>
                  <a:lnTo>
                    <a:pt x="818" y="571"/>
                  </a:lnTo>
                  <a:lnTo>
                    <a:pt x="793" y="554"/>
                  </a:lnTo>
                  <a:close/>
                  <a:moveTo>
                    <a:pt x="576" y="803"/>
                  </a:moveTo>
                  <a:lnTo>
                    <a:pt x="540" y="849"/>
                  </a:lnTo>
                  <a:lnTo>
                    <a:pt x="506" y="897"/>
                  </a:lnTo>
                  <a:lnTo>
                    <a:pt x="474" y="946"/>
                  </a:lnTo>
                  <a:lnTo>
                    <a:pt x="443" y="995"/>
                  </a:lnTo>
                  <a:lnTo>
                    <a:pt x="414" y="1046"/>
                  </a:lnTo>
                  <a:lnTo>
                    <a:pt x="386" y="1097"/>
                  </a:lnTo>
                  <a:lnTo>
                    <a:pt x="359" y="1149"/>
                  </a:lnTo>
                  <a:lnTo>
                    <a:pt x="334" y="1202"/>
                  </a:lnTo>
                  <a:lnTo>
                    <a:pt x="356" y="1220"/>
                  </a:lnTo>
                  <a:lnTo>
                    <a:pt x="377" y="1237"/>
                  </a:lnTo>
                  <a:lnTo>
                    <a:pt x="400" y="1255"/>
                  </a:lnTo>
                  <a:lnTo>
                    <a:pt x="424" y="1271"/>
                  </a:lnTo>
                  <a:lnTo>
                    <a:pt x="448" y="1286"/>
                  </a:lnTo>
                  <a:lnTo>
                    <a:pt x="473" y="1301"/>
                  </a:lnTo>
                  <a:lnTo>
                    <a:pt x="497" y="1314"/>
                  </a:lnTo>
                  <a:lnTo>
                    <a:pt x="523" y="1327"/>
                  </a:lnTo>
                  <a:lnTo>
                    <a:pt x="549" y="1340"/>
                  </a:lnTo>
                  <a:lnTo>
                    <a:pt x="574" y="1351"/>
                  </a:lnTo>
                  <a:lnTo>
                    <a:pt x="601" y="1363"/>
                  </a:lnTo>
                  <a:lnTo>
                    <a:pt x="627" y="1373"/>
                  </a:lnTo>
                  <a:lnTo>
                    <a:pt x="680" y="1393"/>
                  </a:lnTo>
                  <a:lnTo>
                    <a:pt x="735" y="1410"/>
                  </a:lnTo>
                  <a:lnTo>
                    <a:pt x="748" y="1352"/>
                  </a:lnTo>
                  <a:lnTo>
                    <a:pt x="765" y="1295"/>
                  </a:lnTo>
                  <a:lnTo>
                    <a:pt x="781" y="1237"/>
                  </a:lnTo>
                  <a:lnTo>
                    <a:pt x="797" y="1181"/>
                  </a:lnTo>
                  <a:lnTo>
                    <a:pt x="815" y="1124"/>
                  </a:lnTo>
                  <a:lnTo>
                    <a:pt x="834" y="1068"/>
                  </a:lnTo>
                  <a:lnTo>
                    <a:pt x="853" y="1011"/>
                  </a:lnTo>
                  <a:lnTo>
                    <a:pt x="874" y="956"/>
                  </a:lnTo>
                  <a:lnTo>
                    <a:pt x="835" y="942"/>
                  </a:lnTo>
                  <a:lnTo>
                    <a:pt x="794" y="927"/>
                  </a:lnTo>
                  <a:lnTo>
                    <a:pt x="755" y="911"/>
                  </a:lnTo>
                  <a:lnTo>
                    <a:pt x="717" y="893"/>
                  </a:lnTo>
                  <a:lnTo>
                    <a:pt x="680" y="873"/>
                  </a:lnTo>
                  <a:lnTo>
                    <a:pt x="644" y="851"/>
                  </a:lnTo>
                  <a:lnTo>
                    <a:pt x="626" y="840"/>
                  </a:lnTo>
                  <a:lnTo>
                    <a:pt x="609" y="828"/>
                  </a:lnTo>
                  <a:lnTo>
                    <a:pt x="592" y="816"/>
                  </a:lnTo>
                  <a:lnTo>
                    <a:pt x="576" y="803"/>
                  </a:lnTo>
                  <a:close/>
                  <a:moveTo>
                    <a:pt x="318" y="1238"/>
                  </a:moveTo>
                  <a:lnTo>
                    <a:pt x="296" y="1293"/>
                  </a:lnTo>
                  <a:lnTo>
                    <a:pt x="276" y="1347"/>
                  </a:lnTo>
                  <a:lnTo>
                    <a:pt x="258" y="1401"/>
                  </a:lnTo>
                  <a:lnTo>
                    <a:pt x="242" y="1457"/>
                  </a:lnTo>
                  <a:lnTo>
                    <a:pt x="235" y="1485"/>
                  </a:lnTo>
                  <a:lnTo>
                    <a:pt x="229" y="1513"/>
                  </a:lnTo>
                  <a:lnTo>
                    <a:pt x="223" y="1541"/>
                  </a:lnTo>
                  <a:lnTo>
                    <a:pt x="217" y="1570"/>
                  </a:lnTo>
                  <a:lnTo>
                    <a:pt x="213" y="1598"/>
                  </a:lnTo>
                  <a:lnTo>
                    <a:pt x="209" y="1627"/>
                  </a:lnTo>
                  <a:lnTo>
                    <a:pt x="207" y="1655"/>
                  </a:lnTo>
                  <a:lnTo>
                    <a:pt x="205" y="1684"/>
                  </a:lnTo>
                  <a:lnTo>
                    <a:pt x="229" y="1706"/>
                  </a:lnTo>
                  <a:lnTo>
                    <a:pt x="254" y="1726"/>
                  </a:lnTo>
                  <a:lnTo>
                    <a:pt x="280" y="1745"/>
                  </a:lnTo>
                  <a:lnTo>
                    <a:pt x="306" y="1763"/>
                  </a:lnTo>
                  <a:lnTo>
                    <a:pt x="334" y="1780"/>
                  </a:lnTo>
                  <a:lnTo>
                    <a:pt x="361" y="1796"/>
                  </a:lnTo>
                  <a:lnTo>
                    <a:pt x="390" y="1812"/>
                  </a:lnTo>
                  <a:lnTo>
                    <a:pt x="419" y="1826"/>
                  </a:lnTo>
                  <a:lnTo>
                    <a:pt x="449" y="1840"/>
                  </a:lnTo>
                  <a:lnTo>
                    <a:pt x="479" y="1852"/>
                  </a:lnTo>
                  <a:lnTo>
                    <a:pt x="509" y="1865"/>
                  </a:lnTo>
                  <a:lnTo>
                    <a:pt x="539" y="1877"/>
                  </a:lnTo>
                  <a:lnTo>
                    <a:pt x="600" y="1897"/>
                  </a:lnTo>
                  <a:lnTo>
                    <a:pt x="661" y="1916"/>
                  </a:lnTo>
                  <a:lnTo>
                    <a:pt x="664" y="1857"/>
                  </a:lnTo>
                  <a:lnTo>
                    <a:pt x="669" y="1798"/>
                  </a:lnTo>
                  <a:lnTo>
                    <a:pt x="675" y="1740"/>
                  </a:lnTo>
                  <a:lnTo>
                    <a:pt x="683" y="1681"/>
                  </a:lnTo>
                  <a:lnTo>
                    <a:pt x="692" y="1622"/>
                  </a:lnTo>
                  <a:lnTo>
                    <a:pt x="702" y="1563"/>
                  </a:lnTo>
                  <a:lnTo>
                    <a:pt x="714" y="1506"/>
                  </a:lnTo>
                  <a:lnTo>
                    <a:pt x="727" y="1448"/>
                  </a:lnTo>
                  <a:lnTo>
                    <a:pt x="671" y="1431"/>
                  </a:lnTo>
                  <a:lnTo>
                    <a:pt x="617" y="1411"/>
                  </a:lnTo>
                  <a:lnTo>
                    <a:pt x="591" y="1400"/>
                  </a:lnTo>
                  <a:lnTo>
                    <a:pt x="563" y="1389"/>
                  </a:lnTo>
                  <a:lnTo>
                    <a:pt x="536" y="1377"/>
                  </a:lnTo>
                  <a:lnTo>
                    <a:pt x="511" y="1364"/>
                  </a:lnTo>
                  <a:lnTo>
                    <a:pt x="485" y="1351"/>
                  </a:lnTo>
                  <a:lnTo>
                    <a:pt x="459" y="1337"/>
                  </a:lnTo>
                  <a:lnTo>
                    <a:pt x="434" y="1322"/>
                  </a:lnTo>
                  <a:lnTo>
                    <a:pt x="410" y="1308"/>
                  </a:lnTo>
                  <a:lnTo>
                    <a:pt x="386" y="1291"/>
                  </a:lnTo>
                  <a:lnTo>
                    <a:pt x="362" y="1275"/>
                  </a:lnTo>
                  <a:lnTo>
                    <a:pt x="339" y="1257"/>
                  </a:lnTo>
                  <a:lnTo>
                    <a:pt x="318" y="1238"/>
                  </a:lnTo>
                  <a:close/>
                  <a:moveTo>
                    <a:pt x="202" y="1736"/>
                  </a:moveTo>
                  <a:lnTo>
                    <a:pt x="203" y="1761"/>
                  </a:lnTo>
                  <a:lnTo>
                    <a:pt x="203" y="1787"/>
                  </a:lnTo>
                  <a:lnTo>
                    <a:pt x="206" y="1812"/>
                  </a:lnTo>
                  <a:lnTo>
                    <a:pt x="208" y="1837"/>
                  </a:lnTo>
                  <a:lnTo>
                    <a:pt x="212" y="1863"/>
                  </a:lnTo>
                  <a:lnTo>
                    <a:pt x="215" y="1887"/>
                  </a:lnTo>
                  <a:lnTo>
                    <a:pt x="220" y="1912"/>
                  </a:lnTo>
                  <a:lnTo>
                    <a:pt x="225" y="1937"/>
                  </a:lnTo>
                  <a:lnTo>
                    <a:pt x="231" y="1962"/>
                  </a:lnTo>
                  <a:lnTo>
                    <a:pt x="238" y="1986"/>
                  </a:lnTo>
                  <a:lnTo>
                    <a:pt x="246" y="2010"/>
                  </a:lnTo>
                  <a:lnTo>
                    <a:pt x="254" y="2033"/>
                  </a:lnTo>
                  <a:lnTo>
                    <a:pt x="265" y="2058"/>
                  </a:lnTo>
                  <a:lnTo>
                    <a:pt x="275" y="2081"/>
                  </a:lnTo>
                  <a:lnTo>
                    <a:pt x="285" y="2104"/>
                  </a:lnTo>
                  <a:lnTo>
                    <a:pt x="297" y="2126"/>
                  </a:lnTo>
                  <a:lnTo>
                    <a:pt x="320" y="2145"/>
                  </a:lnTo>
                  <a:lnTo>
                    <a:pt x="342" y="2162"/>
                  </a:lnTo>
                  <a:lnTo>
                    <a:pt x="365" y="2181"/>
                  </a:lnTo>
                  <a:lnTo>
                    <a:pt x="389" y="2197"/>
                  </a:lnTo>
                  <a:lnTo>
                    <a:pt x="413" y="2213"/>
                  </a:lnTo>
                  <a:lnTo>
                    <a:pt x="439" y="2228"/>
                  </a:lnTo>
                  <a:lnTo>
                    <a:pt x="464" y="2243"/>
                  </a:lnTo>
                  <a:lnTo>
                    <a:pt x="489" y="2257"/>
                  </a:lnTo>
                  <a:lnTo>
                    <a:pt x="516" y="2270"/>
                  </a:lnTo>
                  <a:lnTo>
                    <a:pt x="542" y="2282"/>
                  </a:lnTo>
                  <a:lnTo>
                    <a:pt x="569" y="2294"/>
                  </a:lnTo>
                  <a:lnTo>
                    <a:pt x="595" y="2305"/>
                  </a:lnTo>
                  <a:lnTo>
                    <a:pt x="649" y="2326"/>
                  </a:lnTo>
                  <a:lnTo>
                    <a:pt x="705" y="2346"/>
                  </a:lnTo>
                  <a:lnTo>
                    <a:pt x="698" y="2321"/>
                  </a:lnTo>
                  <a:lnTo>
                    <a:pt x="692" y="2298"/>
                  </a:lnTo>
                  <a:lnTo>
                    <a:pt x="686" y="2274"/>
                  </a:lnTo>
                  <a:lnTo>
                    <a:pt x="682" y="2250"/>
                  </a:lnTo>
                  <a:lnTo>
                    <a:pt x="674" y="2202"/>
                  </a:lnTo>
                  <a:lnTo>
                    <a:pt x="667" y="2152"/>
                  </a:lnTo>
                  <a:lnTo>
                    <a:pt x="663" y="2104"/>
                  </a:lnTo>
                  <a:lnTo>
                    <a:pt x="661" y="2054"/>
                  </a:lnTo>
                  <a:lnTo>
                    <a:pt x="660" y="2006"/>
                  </a:lnTo>
                  <a:lnTo>
                    <a:pt x="660" y="1956"/>
                  </a:lnTo>
                  <a:lnTo>
                    <a:pt x="599" y="1938"/>
                  </a:lnTo>
                  <a:lnTo>
                    <a:pt x="539" y="1918"/>
                  </a:lnTo>
                  <a:lnTo>
                    <a:pt x="509" y="1907"/>
                  </a:lnTo>
                  <a:lnTo>
                    <a:pt x="479" y="1895"/>
                  </a:lnTo>
                  <a:lnTo>
                    <a:pt x="449" y="1882"/>
                  </a:lnTo>
                  <a:lnTo>
                    <a:pt x="419" y="1870"/>
                  </a:lnTo>
                  <a:lnTo>
                    <a:pt x="390" y="1856"/>
                  </a:lnTo>
                  <a:lnTo>
                    <a:pt x="362" y="1841"/>
                  </a:lnTo>
                  <a:lnTo>
                    <a:pt x="334" y="1826"/>
                  </a:lnTo>
                  <a:lnTo>
                    <a:pt x="306" y="1810"/>
                  </a:lnTo>
                  <a:lnTo>
                    <a:pt x="280" y="1793"/>
                  </a:lnTo>
                  <a:lnTo>
                    <a:pt x="253" y="1774"/>
                  </a:lnTo>
                  <a:lnTo>
                    <a:pt x="228" y="1756"/>
                  </a:lnTo>
                  <a:lnTo>
                    <a:pt x="202" y="1736"/>
                  </a:lnTo>
                  <a:close/>
                  <a:moveTo>
                    <a:pt x="377" y="2236"/>
                  </a:moveTo>
                  <a:lnTo>
                    <a:pt x="399" y="2259"/>
                  </a:lnTo>
                  <a:lnTo>
                    <a:pt x="422" y="2281"/>
                  </a:lnTo>
                  <a:lnTo>
                    <a:pt x="445" y="2303"/>
                  </a:lnTo>
                  <a:lnTo>
                    <a:pt x="470" y="2324"/>
                  </a:lnTo>
                  <a:lnTo>
                    <a:pt x="494" y="2344"/>
                  </a:lnTo>
                  <a:lnTo>
                    <a:pt x="518" y="2365"/>
                  </a:lnTo>
                  <a:lnTo>
                    <a:pt x="543" y="2384"/>
                  </a:lnTo>
                  <a:lnTo>
                    <a:pt x="570" y="2403"/>
                  </a:lnTo>
                  <a:lnTo>
                    <a:pt x="595" y="2420"/>
                  </a:lnTo>
                  <a:lnTo>
                    <a:pt x="622" y="2439"/>
                  </a:lnTo>
                  <a:lnTo>
                    <a:pt x="648" y="2455"/>
                  </a:lnTo>
                  <a:lnTo>
                    <a:pt x="676" y="2471"/>
                  </a:lnTo>
                  <a:lnTo>
                    <a:pt x="703" y="2487"/>
                  </a:lnTo>
                  <a:lnTo>
                    <a:pt x="732" y="2502"/>
                  </a:lnTo>
                  <a:lnTo>
                    <a:pt x="760" y="2516"/>
                  </a:lnTo>
                  <a:lnTo>
                    <a:pt x="789" y="2530"/>
                  </a:lnTo>
                  <a:lnTo>
                    <a:pt x="778" y="2514"/>
                  </a:lnTo>
                  <a:lnTo>
                    <a:pt x="768" y="2498"/>
                  </a:lnTo>
                  <a:lnTo>
                    <a:pt x="759" y="2480"/>
                  </a:lnTo>
                  <a:lnTo>
                    <a:pt x="750" y="2463"/>
                  </a:lnTo>
                  <a:lnTo>
                    <a:pt x="733" y="2427"/>
                  </a:lnTo>
                  <a:lnTo>
                    <a:pt x="720" y="2390"/>
                  </a:lnTo>
                  <a:lnTo>
                    <a:pt x="675" y="2377"/>
                  </a:lnTo>
                  <a:lnTo>
                    <a:pt x="631" y="2361"/>
                  </a:lnTo>
                  <a:lnTo>
                    <a:pt x="586" y="2344"/>
                  </a:lnTo>
                  <a:lnTo>
                    <a:pt x="543" y="2326"/>
                  </a:lnTo>
                  <a:lnTo>
                    <a:pt x="501" y="2305"/>
                  </a:lnTo>
                  <a:lnTo>
                    <a:pt x="458" y="2284"/>
                  </a:lnTo>
                  <a:lnTo>
                    <a:pt x="418" y="2261"/>
                  </a:lnTo>
                  <a:lnTo>
                    <a:pt x="377" y="2236"/>
                  </a:lnTo>
                  <a:close/>
                  <a:moveTo>
                    <a:pt x="1218" y="373"/>
                  </a:moveTo>
                  <a:lnTo>
                    <a:pt x="1238" y="378"/>
                  </a:lnTo>
                  <a:lnTo>
                    <a:pt x="1256" y="381"/>
                  </a:lnTo>
                  <a:lnTo>
                    <a:pt x="1276" y="385"/>
                  </a:lnTo>
                  <a:lnTo>
                    <a:pt x="1296" y="388"/>
                  </a:lnTo>
                  <a:lnTo>
                    <a:pt x="1316" y="389"/>
                  </a:lnTo>
                  <a:lnTo>
                    <a:pt x="1336" y="392"/>
                  </a:lnTo>
                  <a:lnTo>
                    <a:pt x="1355" y="393"/>
                  </a:lnTo>
                  <a:lnTo>
                    <a:pt x="1375" y="393"/>
                  </a:lnTo>
                  <a:lnTo>
                    <a:pt x="1375" y="296"/>
                  </a:lnTo>
                  <a:lnTo>
                    <a:pt x="1354" y="295"/>
                  </a:lnTo>
                  <a:lnTo>
                    <a:pt x="1335" y="291"/>
                  </a:lnTo>
                  <a:lnTo>
                    <a:pt x="1314" y="287"/>
                  </a:lnTo>
                  <a:lnTo>
                    <a:pt x="1296" y="280"/>
                  </a:lnTo>
                  <a:lnTo>
                    <a:pt x="1275" y="302"/>
                  </a:lnTo>
                  <a:lnTo>
                    <a:pt x="1255" y="325"/>
                  </a:lnTo>
                  <a:lnTo>
                    <a:pt x="1237" y="349"/>
                  </a:lnTo>
                  <a:lnTo>
                    <a:pt x="1218" y="373"/>
                  </a:lnTo>
                  <a:close/>
                  <a:moveTo>
                    <a:pt x="1194" y="407"/>
                  </a:moveTo>
                  <a:lnTo>
                    <a:pt x="1176" y="433"/>
                  </a:lnTo>
                  <a:lnTo>
                    <a:pt x="1157" y="462"/>
                  </a:lnTo>
                  <a:lnTo>
                    <a:pt x="1140" y="490"/>
                  </a:lnTo>
                  <a:lnTo>
                    <a:pt x="1123" y="518"/>
                  </a:lnTo>
                  <a:lnTo>
                    <a:pt x="1107" y="546"/>
                  </a:lnTo>
                  <a:lnTo>
                    <a:pt x="1091" y="575"/>
                  </a:lnTo>
                  <a:lnTo>
                    <a:pt x="1074" y="605"/>
                  </a:lnTo>
                  <a:lnTo>
                    <a:pt x="1059" y="634"/>
                  </a:lnTo>
                  <a:lnTo>
                    <a:pt x="1099" y="643"/>
                  </a:lnTo>
                  <a:lnTo>
                    <a:pt x="1138" y="652"/>
                  </a:lnTo>
                  <a:lnTo>
                    <a:pt x="1177" y="658"/>
                  </a:lnTo>
                  <a:lnTo>
                    <a:pt x="1216" y="663"/>
                  </a:lnTo>
                  <a:lnTo>
                    <a:pt x="1255" y="668"/>
                  </a:lnTo>
                  <a:lnTo>
                    <a:pt x="1296" y="670"/>
                  </a:lnTo>
                  <a:lnTo>
                    <a:pt x="1336" y="673"/>
                  </a:lnTo>
                  <a:lnTo>
                    <a:pt x="1375" y="674"/>
                  </a:lnTo>
                  <a:lnTo>
                    <a:pt x="1375" y="432"/>
                  </a:lnTo>
                  <a:lnTo>
                    <a:pt x="1352" y="431"/>
                  </a:lnTo>
                  <a:lnTo>
                    <a:pt x="1329" y="430"/>
                  </a:lnTo>
                  <a:lnTo>
                    <a:pt x="1307" y="428"/>
                  </a:lnTo>
                  <a:lnTo>
                    <a:pt x="1284" y="425"/>
                  </a:lnTo>
                  <a:lnTo>
                    <a:pt x="1261" y="422"/>
                  </a:lnTo>
                  <a:lnTo>
                    <a:pt x="1239" y="417"/>
                  </a:lnTo>
                  <a:lnTo>
                    <a:pt x="1216" y="412"/>
                  </a:lnTo>
                  <a:lnTo>
                    <a:pt x="1194" y="407"/>
                  </a:lnTo>
                  <a:close/>
                  <a:moveTo>
                    <a:pt x="1041" y="669"/>
                  </a:moveTo>
                  <a:lnTo>
                    <a:pt x="1026" y="700"/>
                  </a:lnTo>
                  <a:lnTo>
                    <a:pt x="1011" y="731"/>
                  </a:lnTo>
                  <a:lnTo>
                    <a:pt x="996" y="764"/>
                  </a:lnTo>
                  <a:lnTo>
                    <a:pt x="982" y="796"/>
                  </a:lnTo>
                  <a:lnTo>
                    <a:pt x="968" y="827"/>
                  </a:lnTo>
                  <a:lnTo>
                    <a:pt x="955" y="859"/>
                  </a:lnTo>
                  <a:lnTo>
                    <a:pt x="941" y="892"/>
                  </a:lnTo>
                  <a:lnTo>
                    <a:pt x="928" y="924"/>
                  </a:lnTo>
                  <a:lnTo>
                    <a:pt x="983" y="939"/>
                  </a:lnTo>
                  <a:lnTo>
                    <a:pt x="1039" y="950"/>
                  </a:lnTo>
                  <a:lnTo>
                    <a:pt x="1094" y="961"/>
                  </a:lnTo>
                  <a:lnTo>
                    <a:pt x="1149" y="969"/>
                  </a:lnTo>
                  <a:lnTo>
                    <a:pt x="1206" y="976"/>
                  </a:lnTo>
                  <a:lnTo>
                    <a:pt x="1262" y="980"/>
                  </a:lnTo>
                  <a:lnTo>
                    <a:pt x="1319" y="983"/>
                  </a:lnTo>
                  <a:lnTo>
                    <a:pt x="1375" y="984"/>
                  </a:lnTo>
                  <a:lnTo>
                    <a:pt x="1375" y="712"/>
                  </a:lnTo>
                  <a:lnTo>
                    <a:pt x="1335" y="712"/>
                  </a:lnTo>
                  <a:lnTo>
                    <a:pt x="1293" y="710"/>
                  </a:lnTo>
                  <a:lnTo>
                    <a:pt x="1253" y="706"/>
                  </a:lnTo>
                  <a:lnTo>
                    <a:pt x="1211" y="703"/>
                  </a:lnTo>
                  <a:lnTo>
                    <a:pt x="1168" y="696"/>
                  </a:lnTo>
                  <a:lnTo>
                    <a:pt x="1124" y="688"/>
                  </a:lnTo>
                  <a:lnTo>
                    <a:pt x="1081" y="678"/>
                  </a:lnTo>
                  <a:lnTo>
                    <a:pt x="1041" y="669"/>
                  </a:lnTo>
                  <a:close/>
                  <a:moveTo>
                    <a:pt x="912" y="968"/>
                  </a:moveTo>
                  <a:lnTo>
                    <a:pt x="891" y="1023"/>
                  </a:lnTo>
                  <a:lnTo>
                    <a:pt x="872" y="1079"/>
                  </a:lnTo>
                  <a:lnTo>
                    <a:pt x="852" y="1135"/>
                  </a:lnTo>
                  <a:lnTo>
                    <a:pt x="835" y="1192"/>
                  </a:lnTo>
                  <a:lnTo>
                    <a:pt x="818" y="1249"/>
                  </a:lnTo>
                  <a:lnTo>
                    <a:pt x="801" y="1306"/>
                  </a:lnTo>
                  <a:lnTo>
                    <a:pt x="786" y="1363"/>
                  </a:lnTo>
                  <a:lnTo>
                    <a:pt x="773" y="1422"/>
                  </a:lnTo>
                  <a:lnTo>
                    <a:pt x="808" y="1431"/>
                  </a:lnTo>
                  <a:lnTo>
                    <a:pt x="845" y="1440"/>
                  </a:lnTo>
                  <a:lnTo>
                    <a:pt x="883" y="1449"/>
                  </a:lnTo>
                  <a:lnTo>
                    <a:pt x="920" y="1456"/>
                  </a:lnTo>
                  <a:lnTo>
                    <a:pt x="958" y="1464"/>
                  </a:lnTo>
                  <a:lnTo>
                    <a:pt x="995" y="1470"/>
                  </a:lnTo>
                  <a:lnTo>
                    <a:pt x="1033" y="1476"/>
                  </a:lnTo>
                  <a:lnTo>
                    <a:pt x="1071" y="1481"/>
                  </a:lnTo>
                  <a:lnTo>
                    <a:pt x="1109" y="1486"/>
                  </a:lnTo>
                  <a:lnTo>
                    <a:pt x="1147" y="1490"/>
                  </a:lnTo>
                  <a:lnTo>
                    <a:pt x="1185" y="1493"/>
                  </a:lnTo>
                  <a:lnTo>
                    <a:pt x="1223" y="1495"/>
                  </a:lnTo>
                  <a:lnTo>
                    <a:pt x="1261" y="1498"/>
                  </a:lnTo>
                  <a:lnTo>
                    <a:pt x="1299" y="1500"/>
                  </a:lnTo>
                  <a:lnTo>
                    <a:pt x="1337" y="1500"/>
                  </a:lnTo>
                  <a:lnTo>
                    <a:pt x="1375" y="1501"/>
                  </a:lnTo>
                  <a:lnTo>
                    <a:pt x="1375" y="1030"/>
                  </a:lnTo>
                  <a:lnTo>
                    <a:pt x="1316" y="1029"/>
                  </a:lnTo>
                  <a:lnTo>
                    <a:pt x="1258" y="1026"/>
                  </a:lnTo>
                  <a:lnTo>
                    <a:pt x="1200" y="1022"/>
                  </a:lnTo>
                  <a:lnTo>
                    <a:pt x="1141" y="1015"/>
                  </a:lnTo>
                  <a:lnTo>
                    <a:pt x="1084" y="1006"/>
                  </a:lnTo>
                  <a:lnTo>
                    <a:pt x="1026" y="995"/>
                  </a:lnTo>
                  <a:lnTo>
                    <a:pt x="968" y="983"/>
                  </a:lnTo>
                  <a:lnTo>
                    <a:pt x="912" y="968"/>
                  </a:lnTo>
                  <a:close/>
                  <a:moveTo>
                    <a:pt x="763" y="1458"/>
                  </a:moveTo>
                  <a:lnTo>
                    <a:pt x="751" y="1517"/>
                  </a:lnTo>
                  <a:lnTo>
                    <a:pt x="740" y="1575"/>
                  </a:lnTo>
                  <a:lnTo>
                    <a:pt x="730" y="1632"/>
                  </a:lnTo>
                  <a:lnTo>
                    <a:pt x="721" y="1691"/>
                  </a:lnTo>
                  <a:lnTo>
                    <a:pt x="713" y="1750"/>
                  </a:lnTo>
                  <a:lnTo>
                    <a:pt x="707" y="1809"/>
                  </a:lnTo>
                  <a:lnTo>
                    <a:pt x="702" y="1867"/>
                  </a:lnTo>
                  <a:lnTo>
                    <a:pt x="700" y="1926"/>
                  </a:lnTo>
                  <a:lnTo>
                    <a:pt x="740" y="1937"/>
                  </a:lnTo>
                  <a:lnTo>
                    <a:pt x="782" y="1947"/>
                  </a:lnTo>
                  <a:lnTo>
                    <a:pt x="823" y="1955"/>
                  </a:lnTo>
                  <a:lnTo>
                    <a:pt x="866" y="1963"/>
                  </a:lnTo>
                  <a:lnTo>
                    <a:pt x="907" y="1971"/>
                  </a:lnTo>
                  <a:lnTo>
                    <a:pt x="950" y="1978"/>
                  </a:lnTo>
                  <a:lnTo>
                    <a:pt x="993" y="1984"/>
                  </a:lnTo>
                  <a:lnTo>
                    <a:pt x="1035" y="1988"/>
                  </a:lnTo>
                  <a:lnTo>
                    <a:pt x="1078" y="1993"/>
                  </a:lnTo>
                  <a:lnTo>
                    <a:pt x="1119" y="1996"/>
                  </a:lnTo>
                  <a:lnTo>
                    <a:pt x="1163" y="2000"/>
                  </a:lnTo>
                  <a:lnTo>
                    <a:pt x="1206" y="2002"/>
                  </a:lnTo>
                  <a:lnTo>
                    <a:pt x="1248" y="2005"/>
                  </a:lnTo>
                  <a:lnTo>
                    <a:pt x="1290" y="2006"/>
                  </a:lnTo>
                  <a:lnTo>
                    <a:pt x="1332" y="2007"/>
                  </a:lnTo>
                  <a:lnTo>
                    <a:pt x="1375" y="2007"/>
                  </a:lnTo>
                  <a:lnTo>
                    <a:pt x="1375" y="1539"/>
                  </a:lnTo>
                  <a:lnTo>
                    <a:pt x="1337" y="1539"/>
                  </a:lnTo>
                  <a:lnTo>
                    <a:pt x="1298" y="1538"/>
                  </a:lnTo>
                  <a:lnTo>
                    <a:pt x="1259" y="1537"/>
                  </a:lnTo>
                  <a:lnTo>
                    <a:pt x="1221" y="1534"/>
                  </a:lnTo>
                  <a:lnTo>
                    <a:pt x="1182" y="1531"/>
                  </a:lnTo>
                  <a:lnTo>
                    <a:pt x="1144" y="1528"/>
                  </a:lnTo>
                  <a:lnTo>
                    <a:pt x="1106" y="1524"/>
                  </a:lnTo>
                  <a:lnTo>
                    <a:pt x="1066" y="1518"/>
                  </a:lnTo>
                  <a:lnTo>
                    <a:pt x="1028" y="1514"/>
                  </a:lnTo>
                  <a:lnTo>
                    <a:pt x="990" y="1508"/>
                  </a:lnTo>
                  <a:lnTo>
                    <a:pt x="952" y="1501"/>
                  </a:lnTo>
                  <a:lnTo>
                    <a:pt x="914" y="1494"/>
                  </a:lnTo>
                  <a:lnTo>
                    <a:pt x="876" y="1486"/>
                  </a:lnTo>
                  <a:lnTo>
                    <a:pt x="838" y="1478"/>
                  </a:lnTo>
                  <a:lnTo>
                    <a:pt x="801" y="1469"/>
                  </a:lnTo>
                  <a:lnTo>
                    <a:pt x="763" y="1458"/>
                  </a:lnTo>
                  <a:close/>
                  <a:moveTo>
                    <a:pt x="699" y="1967"/>
                  </a:moveTo>
                  <a:lnTo>
                    <a:pt x="699" y="2016"/>
                  </a:lnTo>
                  <a:lnTo>
                    <a:pt x="700" y="2066"/>
                  </a:lnTo>
                  <a:lnTo>
                    <a:pt x="702" y="2115"/>
                  </a:lnTo>
                  <a:lnTo>
                    <a:pt x="708" y="2165"/>
                  </a:lnTo>
                  <a:lnTo>
                    <a:pt x="715" y="2214"/>
                  </a:lnTo>
                  <a:lnTo>
                    <a:pt x="724" y="2264"/>
                  </a:lnTo>
                  <a:lnTo>
                    <a:pt x="729" y="2288"/>
                  </a:lnTo>
                  <a:lnTo>
                    <a:pt x="736" y="2312"/>
                  </a:lnTo>
                  <a:lnTo>
                    <a:pt x="741" y="2335"/>
                  </a:lnTo>
                  <a:lnTo>
                    <a:pt x="750" y="2359"/>
                  </a:lnTo>
                  <a:lnTo>
                    <a:pt x="788" y="2370"/>
                  </a:lnTo>
                  <a:lnTo>
                    <a:pt x="826" y="2380"/>
                  </a:lnTo>
                  <a:lnTo>
                    <a:pt x="865" y="2389"/>
                  </a:lnTo>
                  <a:lnTo>
                    <a:pt x="903" y="2397"/>
                  </a:lnTo>
                  <a:lnTo>
                    <a:pt x="942" y="2405"/>
                  </a:lnTo>
                  <a:lnTo>
                    <a:pt x="981" y="2412"/>
                  </a:lnTo>
                  <a:lnTo>
                    <a:pt x="1020" y="2418"/>
                  </a:lnTo>
                  <a:lnTo>
                    <a:pt x="1059" y="2424"/>
                  </a:lnTo>
                  <a:lnTo>
                    <a:pt x="1099" y="2429"/>
                  </a:lnTo>
                  <a:lnTo>
                    <a:pt x="1138" y="2433"/>
                  </a:lnTo>
                  <a:lnTo>
                    <a:pt x="1178" y="2437"/>
                  </a:lnTo>
                  <a:lnTo>
                    <a:pt x="1217" y="2439"/>
                  </a:lnTo>
                  <a:lnTo>
                    <a:pt x="1256" y="2441"/>
                  </a:lnTo>
                  <a:lnTo>
                    <a:pt x="1297" y="2442"/>
                  </a:lnTo>
                  <a:lnTo>
                    <a:pt x="1336" y="2443"/>
                  </a:lnTo>
                  <a:lnTo>
                    <a:pt x="1375" y="2445"/>
                  </a:lnTo>
                  <a:lnTo>
                    <a:pt x="1375" y="2045"/>
                  </a:lnTo>
                  <a:lnTo>
                    <a:pt x="1332" y="2045"/>
                  </a:lnTo>
                  <a:lnTo>
                    <a:pt x="1290" y="2045"/>
                  </a:lnTo>
                  <a:lnTo>
                    <a:pt x="1247" y="2044"/>
                  </a:lnTo>
                  <a:lnTo>
                    <a:pt x="1205" y="2041"/>
                  </a:lnTo>
                  <a:lnTo>
                    <a:pt x="1162" y="2039"/>
                  </a:lnTo>
                  <a:lnTo>
                    <a:pt x="1119" y="2036"/>
                  </a:lnTo>
                  <a:lnTo>
                    <a:pt x="1077" y="2032"/>
                  </a:lnTo>
                  <a:lnTo>
                    <a:pt x="1034" y="2028"/>
                  </a:lnTo>
                  <a:lnTo>
                    <a:pt x="991" y="2023"/>
                  </a:lnTo>
                  <a:lnTo>
                    <a:pt x="950" y="2017"/>
                  </a:lnTo>
                  <a:lnTo>
                    <a:pt x="907" y="2010"/>
                  </a:lnTo>
                  <a:lnTo>
                    <a:pt x="865" y="2003"/>
                  </a:lnTo>
                  <a:lnTo>
                    <a:pt x="823" y="1995"/>
                  </a:lnTo>
                  <a:lnTo>
                    <a:pt x="782" y="1986"/>
                  </a:lnTo>
                  <a:lnTo>
                    <a:pt x="740" y="1977"/>
                  </a:lnTo>
                  <a:lnTo>
                    <a:pt x="699" y="1967"/>
                  </a:lnTo>
                  <a:close/>
                  <a:moveTo>
                    <a:pt x="767" y="2404"/>
                  </a:moveTo>
                  <a:lnTo>
                    <a:pt x="776" y="2426"/>
                  </a:lnTo>
                  <a:lnTo>
                    <a:pt x="785" y="2447"/>
                  </a:lnTo>
                  <a:lnTo>
                    <a:pt x="796" y="2468"/>
                  </a:lnTo>
                  <a:lnTo>
                    <a:pt x="807" y="2487"/>
                  </a:lnTo>
                  <a:lnTo>
                    <a:pt x="820" y="2507"/>
                  </a:lnTo>
                  <a:lnTo>
                    <a:pt x="832" y="2525"/>
                  </a:lnTo>
                  <a:lnTo>
                    <a:pt x="847" y="2544"/>
                  </a:lnTo>
                  <a:lnTo>
                    <a:pt x="862" y="2562"/>
                  </a:lnTo>
                  <a:lnTo>
                    <a:pt x="892" y="2574"/>
                  </a:lnTo>
                  <a:lnTo>
                    <a:pt x="923" y="2584"/>
                  </a:lnTo>
                  <a:lnTo>
                    <a:pt x="955" y="2594"/>
                  </a:lnTo>
                  <a:lnTo>
                    <a:pt x="987" y="2605"/>
                  </a:lnTo>
                  <a:lnTo>
                    <a:pt x="1018" y="2613"/>
                  </a:lnTo>
                  <a:lnTo>
                    <a:pt x="1050" y="2622"/>
                  </a:lnTo>
                  <a:lnTo>
                    <a:pt x="1081" y="2629"/>
                  </a:lnTo>
                  <a:lnTo>
                    <a:pt x="1114" y="2636"/>
                  </a:lnTo>
                  <a:lnTo>
                    <a:pt x="1146" y="2642"/>
                  </a:lnTo>
                  <a:lnTo>
                    <a:pt x="1179" y="2647"/>
                  </a:lnTo>
                  <a:lnTo>
                    <a:pt x="1211" y="2652"/>
                  </a:lnTo>
                  <a:lnTo>
                    <a:pt x="1244" y="2655"/>
                  </a:lnTo>
                  <a:lnTo>
                    <a:pt x="1277" y="2659"/>
                  </a:lnTo>
                  <a:lnTo>
                    <a:pt x="1309" y="2661"/>
                  </a:lnTo>
                  <a:lnTo>
                    <a:pt x="1343" y="2662"/>
                  </a:lnTo>
                  <a:lnTo>
                    <a:pt x="1375" y="2664"/>
                  </a:lnTo>
                  <a:lnTo>
                    <a:pt x="1375" y="2483"/>
                  </a:lnTo>
                  <a:lnTo>
                    <a:pt x="1299" y="2482"/>
                  </a:lnTo>
                  <a:lnTo>
                    <a:pt x="1222" y="2478"/>
                  </a:lnTo>
                  <a:lnTo>
                    <a:pt x="1183" y="2476"/>
                  </a:lnTo>
                  <a:lnTo>
                    <a:pt x="1145" y="2472"/>
                  </a:lnTo>
                  <a:lnTo>
                    <a:pt x="1107" y="2469"/>
                  </a:lnTo>
                  <a:lnTo>
                    <a:pt x="1069" y="2464"/>
                  </a:lnTo>
                  <a:lnTo>
                    <a:pt x="1029" y="2460"/>
                  </a:lnTo>
                  <a:lnTo>
                    <a:pt x="991" y="2454"/>
                  </a:lnTo>
                  <a:lnTo>
                    <a:pt x="953" y="2447"/>
                  </a:lnTo>
                  <a:lnTo>
                    <a:pt x="917" y="2440"/>
                  </a:lnTo>
                  <a:lnTo>
                    <a:pt x="879" y="2432"/>
                  </a:lnTo>
                  <a:lnTo>
                    <a:pt x="841" y="2424"/>
                  </a:lnTo>
                  <a:lnTo>
                    <a:pt x="804" y="2415"/>
                  </a:lnTo>
                  <a:lnTo>
                    <a:pt x="767" y="2404"/>
                  </a:lnTo>
                  <a:close/>
                </a:path>
              </a:pathLst>
            </a:custGeom>
            <a:solidFill>
              <a:schemeClr val="tx1">
                <a:lumMod val="75000"/>
                <a:lumOff val="25000"/>
              </a:schemeClr>
            </a:solidFill>
            <a:ln>
              <a:noFill/>
            </a:ln>
            <a:extLst/>
          </p:spPr>
          <p:txBody>
            <a:bodyPr/>
            <a:lstStyle/>
            <a:p>
              <a:pPr>
                <a:defRPr/>
              </a:pPr>
              <a:endParaRPr lang="en-US">
                <a:latin typeface="Calibri" charset="0"/>
                <a:ea typeface="ＭＳ Ｐゴシック" charset="0"/>
                <a:cs typeface="ＭＳ Ｐゴシック" charset="0"/>
              </a:endParaRPr>
            </a:p>
          </p:txBody>
        </p:sp>
        <p:sp>
          <p:nvSpPr>
            <p:cNvPr id="10" name="TextBox 9"/>
            <p:cNvSpPr txBox="1"/>
            <p:nvPr>
              <p:custDataLst>
                <p:tags r:id="rId11"/>
              </p:custDataLst>
            </p:nvPr>
          </p:nvSpPr>
          <p:spPr>
            <a:xfrm>
              <a:off x="2454753" y="4875206"/>
              <a:ext cx="1672376" cy="206067"/>
            </a:xfrm>
            <a:prstGeom prst="rect">
              <a:avLst/>
            </a:prstGeom>
            <a:noFill/>
          </p:spPr>
          <p:txBody>
            <a:bodyPr lIns="0" tIns="0" rIns="0" bIns="0" anchor="b">
              <a:spAutoFit/>
            </a:bodyPr>
            <a:lstStyle/>
            <a:p>
              <a:pPr>
                <a:defRPr/>
              </a:pPr>
              <a:r>
                <a:rPr lang="en-US" sz="1000" b="1" dirty="0">
                  <a:solidFill>
                    <a:schemeClr val="tx1">
                      <a:lumMod val="75000"/>
                      <a:lumOff val="25000"/>
                    </a:schemeClr>
                  </a:solidFill>
                  <a:latin typeface="Calibri" charset="0"/>
                  <a:ea typeface="ＭＳ Ｐゴシック" charset="0"/>
                  <a:cs typeface="ＭＳ Ｐゴシック" charset="0"/>
                </a:rPr>
                <a:t>www.ray-can.com </a:t>
              </a:r>
            </a:p>
          </p:txBody>
        </p:sp>
      </p:grpSp>
      <p:grpSp>
        <p:nvGrpSpPr>
          <p:cNvPr id="11" name="Group 347"/>
          <p:cNvGrpSpPr>
            <a:grpSpLocks/>
          </p:cNvGrpSpPr>
          <p:nvPr/>
        </p:nvGrpSpPr>
        <p:grpSpPr bwMode="auto">
          <a:xfrm>
            <a:off x="2624139" y="3996483"/>
            <a:ext cx="2009775" cy="178890"/>
            <a:chOff x="2117160" y="5185437"/>
            <a:chExt cx="2009969" cy="237661"/>
          </a:xfrm>
        </p:grpSpPr>
        <p:sp>
          <p:nvSpPr>
            <p:cNvPr id="12" name="Freeform 209"/>
            <p:cNvSpPr>
              <a:spLocks noEditPoints="1"/>
            </p:cNvSpPr>
            <p:nvPr>
              <p:custDataLst>
                <p:tags r:id="rId8"/>
              </p:custDataLst>
            </p:nvPr>
          </p:nvSpPr>
          <p:spPr bwMode="auto">
            <a:xfrm>
              <a:off x="2117160" y="5201648"/>
              <a:ext cx="211157" cy="221450"/>
            </a:xfrm>
            <a:custGeom>
              <a:avLst/>
              <a:gdLst>
                <a:gd name="T0" fmla="*/ 269 w 285"/>
                <a:gd name="T1" fmla="*/ 124 h 300"/>
                <a:gd name="T2" fmla="*/ 252 w 285"/>
                <a:gd name="T3" fmla="*/ 168 h 300"/>
                <a:gd name="T4" fmla="*/ 210 w 285"/>
                <a:gd name="T5" fmla="*/ 213 h 300"/>
                <a:gd name="T6" fmla="*/ 164 w 285"/>
                <a:gd name="T7" fmla="*/ 221 h 300"/>
                <a:gd name="T8" fmla="*/ 143 w 285"/>
                <a:gd name="T9" fmla="*/ 211 h 300"/>
                <a:gd name="T10" fmla="*/ 115 w 285"/>
                <a:gd name="T11" fmla="*/ 224 h 300"/>
                <a:gd name="T12" fmla="*/ 92 w 285"/>
                <a:gd name="T13" fmla="*/ 231 h 300"/>
                <a:gd name="T14" fmla="*/ 58 w 285"/>
                <a:gd name="T15" fmla="*/ 220 h 300"/>
                <a:gd name="T16" fmla="*/ 44 w 285"/>
                <a:gd name="T17" fmla="*/ 186 h 300"/>
                <a:gd name="T18" fmla="*/ 55 w 285"/>
                <a:gd name="T19" fmla="*/ 120 h 300"/>
                <a:gd name="T20" fmla="*/ 80 w 285"/>
                <a:gd name="T21" fmla="*/ 79 h 300"/>
                <a:gd name="T22" fmla="*/ 116 w 285"/>
                <a:gd name="T23" fmla="*/ 58 h 300"/>
                <a:gd name="T24" fmla="*/ 144 w 285"/>
                <a:gd name="T25" fmla="*/ 59 h 300"/>
                <a:gd name="T26" fmla="*/ 158 w 285"/>
                <a:gd name="T27" fmla="*/ 60 h 300"/>
                <a:gd name="T28" fmla="*/ 184 w 285"/>
                <a:gd name="T29" fmla="*/ 44 h 300"/>
                <a:gd name="T30" fmla="*/ 196 w 285"/>
                <a:gd name="T31" fmla="*/ 51 h 300"/>
                <a:gd name="T32" fmla="*/ 176 w 285"/>
                <a:gd name="T33" fmla="*/ 160 h 300"/>
                <a:gd name="T34" fmla="*/ 174 w 285"/>
                <a:gd name="T35" fmla="*/ 194 h 300"/>
                <a:gd name="T36" fmla="*/ 195 w 285"/>
                <a:gd name="T37" fmla="*/ 191 h 300"/>
                <a:gd name="T38" fmla="*/ 227 w 285"/>
                <a:gd name="T39" fmla="*/ 151 h 300"/>
                <a:gd name="T40" fmla="*/ 235 w 285"/>
                <a:gd name="T41" fmla="*/ 89 h 300"/>
                <a:gd name="T42" fmla="*/ 219 w 285"/>
                <a:gd name="T43" fmla="*/ 51 h 300"/>
                <a:gd name="T44" fmla="*/ 191 w 285"/>
                <a:gd name="T45" fmla="*/ 28 h 300"/>
                <a:gd name="T46" fmla="*/ 136 w 285"/>
                <a:gd name="T47" fmla="*/ 22 h 300"/>
                <a:gd name="T48" fmla="*/ 97 w 285"/>
                <a:gd name="T49" fmla="*/ 33 h 300"/>
                <a:gd name="T50" fmla="*/ 49 w 285"/>
                <a:gd name="T51" fmla="*/ 73 h 300"/>
                <a:gd name="T52" fmla="*/ 29 w 285"/>
                <a:gd name="T53" fmla="*/ 110 h 300"/>
                <a:gd name="T54" fmla="*/ 22 w 285"/>
                <a:gd name="T55" fmla="*/ 152 h 300"/>
                <a:gd name="T56" fmla="*/ 37 w 285"/>
                <a:gd name="T57" fmla="*/ 217 h 300"/>
                <a:gd name="T58" fmla="*/ 67 w 285"/>
                <a:gd name="T59" fmla="*/ 251 h 300"/>
                <a:gd name="T60" fmla="*/ 137 w 285"/>
                <a:gd name="T61" fmla="*/ 269 h 300"/>
                <a:gd name="T62" fmla="*/ 190 w 285"/>
                <a:gd name="T63" fmla="*/ 256 h 300"/>
                <a:gd name="T64" fmla="*/ 232 w 285"/>
                <a:gd name="T65" fmla="*/ 224 h 300"/>
                <a:gd name="T66" fmla="*/ 261 w 285"/>
                <a:gd name="T67" fmla="*/ 192 h 300"/>
                <a:gd name="T68" fmla="*/ 283 w 285"/>
                <a:gd name="T69" fmla="*/ 194 h 300"/>
                <a:gd name="T70" fmla="*/ 284 w 285"/>
                <a:gd name="T71" fmla="*/ 203 h 300"/>
                <a:gd name="T72" fmla="*/ 251 w 285"/>
                <a:gd name="T73" fmla="*/ 253 h 300"/>
                <a:gd name="T74" fmla="*/ 195 w 285"/>
                <a:gd name="T75" fmla="*/ 289 h 300"/>
                <a:gd name="T76" fmla="*/ 136 w 285"/>
                <a:gd name="T77" fmla="*/ 300 h 300"/>
                <a:gd name="T78" fmla="*/ 76 w 285"/>
                <a:gd name="T79" fmla="*/ 288 h 300"/>
                <a:gd name="T80" fmla="*/ 32 w 285"/>
                <a:gd name="T81" fmla="*/ 254 h 300"/>
                <a:gd name="T82" fmla="*/ 4 w 285"/>
                <a:gd name="T83" fmla="*/ 197 h 300"/>
                <a:gd name="T84" fmla="*/ 1 w 285"/>
                <a:gd name="T85" fmla="*/ 145 h 300"/>
                <a:gd name="T86" fmla="*/ 26 w 285"/>
                <a:gd name="T87" fmla="*/ 75 h 300"/>
                <a:gd name="T88" fmla="*/ 60 w 285"/>
                <a:gd name="T89" fmla="*/ 36 h 300"/>
                <a:gd name="T90" fmla="*/ 116 w 285"/>
                <a:gd name="T91" fmla="*/ 7 h 300"/>
                <a:gd name="T92" fmla="*/ 173 w 285"/>
                <a:gd name="T93" fmla="*/ 0 h 300"/>
                <a:gd name="T94" fmla="*/ 218 w 285"/>
                <a:gd name="T95" fmla="*/ 14 h 300"/>
                <a:gd name="T96" fmla="*/ 265 w 285"/>
                <a:gd name="T97" fmla="*/ 66 h 300"/>
                <a:gd name="T98" fmla="*/ 117 w 285"/>
                <a:gd name="T99" fmla="*/ 76 h 300"/>
                <a:gd name="T100" fmla="*/ 90 w 285"/>
                <a:gd name="T101" fmla="*/ 117 h 300"/>
                <a:gd name="T102" fmla="*/ 77 w 285"/>
                <a:gd name="T103" fmla="*/ 180 h 300"/>
                <a:gd name="T104" fmla="*/ 88 w 285"/>
                <a:gd name="T105" fmla="*/ 208 h 300"/>
                <a:gd name="T106" fmla="*/ 105 w 285"/>
                <a:gd name="T107" fmla="*/ 207 h 300"/>
                <a:gd name="T108" fmla="*/ 130 w 285"/>
                <a:gd name="T109" fmla="*/ 175 h 300"/>
                <a:gd name="T110" fmla="*/ 145 w 285"/>
                <a:gd name="T111" fmla="*/ 126 h 300"/>
                <a:gd name="T112" fmla="*/ 144 w 285"/>
                <a:gd name="T113" fmla="*/ 77 h 300"/>
                <a:gd name="T114" fmla="*/ 127 w 285"/>
                <a:gd name="T115" fmla="*/ 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 h="300">
                  <a:moveTo>
                    <a:pt x="268" y="79"/>
                  </a:moveTo>
                  <a:lnTo>
                    <a:pt x="268" y="79"/>
                  </a:lnTo>
                  <a:lnTo>
                    <a:pt x="270" y="90"/>
                  </a:lnTo>
                  <a:lnTo>
                    <a:pt x="271" y="101"/>
                  </a:lnTo>
                  <a:lnTo>
                    <a:pt x="270" y="112"/>
                  </a:lnTo>
                  <a:lnTo>
                    <a:pt x="269" y="124"/>
                  </a:lnTo>
                  <a:lnTo>
                    <a:pt x="267" y="134"/>
                  </a:lnTo>
                  <a:lnTo>
                    <a:pt x="263" y="145"/>
                  </a:lnTo>
                  <a:lnTo>
                    <a:pt x="258" y="157"/>
                  </a:lnTo>
                  <a:lnTo>
                    <a:pt x="252" y="168"/>
                  </a:lnTo>
                  <a:lnTo>
                    <a:pt x="252" y="168"/>
                  </a:lnTo>
                  <a:lnTo>
                    <a:pt x="252" y="168"/>
                  </a:lnTo>
                  <a:lnTo>
                    <a:pt x="245" y="179"/>
                  </a:lnTo>
                  <a:lnTo>
                    <a:pt x="238" y="188"/>
                  </a:lnTo>
                  <a:lnTo>
                    <a:pt x="233" y="196"/>
                  </a:lnTo>
                  <a:lnTo>
                    <a:pt x="226" y="203"/>
                  </a:lnTo>
                  <a:lnTo>
                    <a:pt x="218" y="209"/>
                  </a:lnTo>
                  <a:lnTo>
                    <a:pt x="210" y="213"/>
                  </a:lnTo>
                  <a:lnTo>
                    <a:pt x="200" y="217"/>
                  </a:lnTo>
                  <a:lnTo>
                    <a:pt x="189" y="221"/>
                  </a:lnTo>
                  <a:lnTo>
                    <a:pt x="175" y="221"/>
                  </a:lnTo>
                  <a:lnTo>
                    <a:pt x="175" y="221"/>
                  </a:lnTo>
                  <a:lnTo>
                    <a:pt x="169" y="222"/>
                  </a:lnTo>
                  <a:lnTo>
                    <a:pt x="164" y="221"/>
                  </a:lnTo>
                  <a:lnTo>
                    <a:pt x="158" y="220"/>
                  </a:lnTo>
                  <a:lnTo>
                    <a:pt x="152" y="218"/>
                  </a:lnTo>
                  <a:lnTo>
                    <a:pt x="152" y="218"/>
                  </a:lnTo>
                  <a:lnTo>
                    <a:pt x="152" y="218"/>
                  </a:lnTo>
                  <a:lnTo>
                    <a:pt x="148" y="214"/>
                  </a:lnTo>
                  <a:lnTo>
                    <a:pt x="143" y="211"/>
                  </a:lnTo>
                  <a:lnTo>
                    <a:pt x="140" y="207"/>
                  </a:lnTo>
                  <a:lnTo>
                    <a:pt x="136" y="202"/>
                  </a:lnTo>
                  <a:lnTo>
                    <a:pt x="136" y="202"/>
                  </a:lnTo>
                  <a:lnTo>
                    <a:pt x="136" y="202"/>
                  </a:lnTo>
                  <a:lnTo>
                    <a:pt x="126" y="214"/>
                  </a:lnTo>
                  <a:lnTo>
                    <a:pt x="115" y="224"/>
                  </a:lnTo>
                  <a:lnTo>
                    <a:pt x="109" y="226"/>
                  </a:lnTo>
                  <a:lnTo>
                    <a:pt x="103" y="229"/>
                  </a:lnTo>
                  <a:lnTo>
                    <a:pt x="98" y="230"/>
                  </a:lnTo>
                  <a:lnTo>
                    <a:pt x="92" y="231"/>
                  </a:lnTo>
                  <a:lnTo>
                    <a:pt x="92" y="231"/>
                  </a:lnTo>
                  <a:lnTo>
                    <a:pt x="92" y="231"/>
                  </a:lnTo>
                  <a:lnTo>
                    <a:pt x="81" y="231"/>
                  </a:lnTo>
                  <a:lnTo>
                    <a:pt x="75" y="230"/>
                  </a:lnTo>
                  <a:lnTo>
                    <a:pt x="71" y="228"/>
                  </a:lnTo>
                  <a:lnTo>
                    <a:pt x="66" y="226"/>
                  </a:lnTo>
                  <a:lnTo>
                    <a:pt x="61" y="224"/>
                  </a:lnTo>
                  <a:lnTo>
                    <a:pt x="58" y="220"/>
                  </a:lnTo>
                  <a:lnTo>
                    <a:pt x="55" y="216"/>
                  </a:lnTo>
                  <a:lnTo>
                    <a:pt x="55" y="216"/>
                  </a:lnTo>
                  <a:lnTo>
                    <a:pt x="55" y="216"/>
                  </a:lnTo>
                  <a:lnTo>
                    <a:pt x="50" y="208"/>
                  </a:lnTo>
                  <a:lnTo>
                    <a:pt x="47" y="197"/>
                  </a:lnTo>
                  <a:lnTo>
                    <a:pt x="44" y="186"/>
                  </a:lnTo>
                  <a:lnTo>
                    <a:pt x="44" y="174"/>
                  </a:lnTo>
                  <a:lnTo>
                    <a:pt x="44" y="174"/>
                  </a:lnTo>
                  <a:lnTo>
                    <a:pt x="44" y="174"/>
                  </a:lnTo>
                  <a:lnTo>
                    <a:pt x="46" y="155"/>
                  </a:lnTo>
                  <a:lnTo>
                    <a:pt x="49" y="138"/>
                  </a:lnTo>
                  <a:lnTo>
                    <a:pt x="55" y="120"/>
                  </a:lnTo>
                  <a:lnTo>
                    <a:pt x="63" y="103"/>
                  </a:lnTo>
                  <a:lnTo>
                    <a:pt x="63" y="103"/>
                  </a:lnTo>
                  <a:lnTo>
                    <a:pt x="63" y="103"/>
                  </a:lnTo>
                  <a:lnTo>
                    <a:pt x="68" y="94"/>
                  </a:lnTo>
                  <a:lnTo>
                    <a:pt x="74" y="86"/>
                  </a:lnTo>
                  <a:lnTo>
                    <a:pt x="80" y="79"/>
                  </a:lnTo>
                  <a:lnTo>
                    <a:pt x="86" y="74"/>
                  </a:lnTo>
                  <a:lnTo>
                    <a:pt x="93" y="68"/>
                  </a:lnTo>
                  <a:lnTo>
                    <a:pt x="101" y="64"/>
                  </a:lnTo>
                  <a:lnTo>
                    <a:pt x="108" y="60"/>
                  </a:lnTo>
                  <a:lnTo>
                    <a:pt x="116" y="58"/>
                  </a:lnTo>
                  <a:lnTo>
                    <a:pt x="116" y="58"/>
                  </a:lnTo>
                  <a:lnTo>
                    <a:pt x="116" y="58"/>
                  </a:lnTo>
                  <a:lnTo>
                    <a:pt x="123" y="57"/>
                  </a:lnTo>
                  <a:lnTo>
                    <a:pt x="130" y="56"/>
                  </a:lnTo>
                  <a:lnTo>
                    <a:pt x="135" y="56"/>
                  </a:lnTo>
                  <a:lnTo>
                    <a:pt x="140" y="57"/>
                  </a:lnTo>
                  <a:lnTo>
                    <a:pt x="144" y="59"/>
                  </a:lnTo>
                  <a:lnTo>
                    <a:pt x="149" y="61"/>
                  </a:lnTo>
                  <a:lnTo>
                    <a:pt x="152" y="65"/>
                  </a:lnTo>
                  <a:lnTo>
                    <a:pt x="156" y="68"/>
                  </a:lnTo>
                  <a:lnTo>
                    <a:pt x="156" y="68"/>
                  </a:lnTo>
                  <a:lnTo>
                    <a:pt x="156" y="68"/>
                  </a:lnTo>
                  <a:lnTo>
                    <a:pt x="158" y="60"/>
                  </a:lnTo>
                  <a:lnTo>
                    <a:pt x="161" y="53"/>
                  </a:lnTo>
                  <a:lnTo>
                    <a:pt x="167" y="49"/>
                  </a:lnTo>
                  <a:lnTo>
                    <a:pt x="175" y="45"/>
                  </a:lnTo>
                  <a:lnTo>
                    <a:pt x="175" y="45"/>
                  </a:lnTo>
                  <a:lnTo>
                    <a:pt x="175" y="45"/>
                  </a:lnTo>
                  <a:lnTo>
                    <a:pt x="184" y="44"/>
                  </a:lnTo>
                  <a:lnTo>
                    <a:pt x="191" y="44"/>
                  </a:lnTo>
                  <a:lnTo>
                    <a:pt x="194" y="47"/>
                  </a:lnTo>
                  <a:lnTo>
                    <a:pt x="195" y="49"/>
                  </a:lnTo>
                  <a:lnTo>
                    <a:pt x="196" y="51"/>
                  </a:lnTo>
                  <a:lnTo>
                    <a:pt x="196" y="51"/>
                  </a:lnTo>
                  <a:lnTo>
                    <a:pt x="196" y="51"/>
                  </a:lnTo>
                  <a:lnTo>
                    <a:pt x="196" y="53"/>
                  </a:lnTo>
                  <a:lnTo>
                    <a:pt x="196" y="53"/>
                  </a:lnTo>
                  <a:lnTo>
                    <a:pt x="196" y="53"/>
                  </a:lnTo>
                  <a:lnTo>
                    <a:pt x="186" y="107"/>
                  </a:lnTo>
                  <a:lnTo>
                    <a:pt x="179" y="148"/>
                  </a:lnTo>
                  <a:lnTo>
                    <a:pt x="176" y="160"/>
                  </a:lnTo>
                  <a:lnTo>
                    <a:pt x="176" y="160"/>
                  </a:lnTo>
                  <a:lnTo>
                    <a:pt x="170" y="187"/>
                  </a:lnTo>
                  <a:lnTo>
                    <a:pt x="170" y="187"/>
                  </a:lnTo>
                  <a:lnTo>
                    <a:pt x="170" y="187"/>
                  </a:lnTo>
                  <a:lnTo>
                    <a:pt x="172" y="191"/>
                  </a:lnTo>
                  <a:lnTo>
                    <a:pt x="174" y="194"/>
                  </a:lnTo>
                  <a:lnTo>
                    <a:pt x="177" y="195"/>
                  </a:lnTo>
                  <a:lnTo>
                    <a:pt x="182" y="195"/>
                  </a:lnTo>
                  <a:lnTo>
                    <a:pt x="182" y="195"/>
                  </a:lnTo>
                  <a:lnTo>
                    <a:pt x="182" y="195"/>
                  </a:lnTo>
                  <a:lnTo>
                    <a:pt x="190" y="194"/>
                  </a:lnTo>
                  <a:lnTo>
                    <a:pt x="195" y="191"/>
                  </a:lnTo>
                  <a:lnTo>
                    <a:pt x="202" y="187"/>
                  </a:lnTo>
                  <a:lnTo>
                    <a:pt x="208" y="183"/>
                  </a:lnTo>
                  <a:lnTo>
                    <a:pt x="213" y="177"/>
                  </a:lnTo>
                  <a:lnTo>
                    <a:pt x="218" y="169"/>
                  </a:lnTo>
                  <a:lnTo>
                    <a:pt x="223" y="161"/>
                  </a:lnTo>
                  <a:lnTo>
                    <a:pt x="227" y="151"/>
                  </a:lnTo>
                  <a:lnTo>
                    <a:pt x="227" y="151"/>
                  </a:lnTo>
                  <a:lnTo>
                    <a:pt x="227" y="151"/>
                  </a:lnTo>
                  <a:lnTo>
                    <a:pt x="233" y="135"/>
                  </a:lnTo>
                  <a:lnTo>
                    <a:pt x="235" y="119"/>
                  </a:lnTo>
                  <a:lnTo>
                    <a:pt x="236" y="103"/>
                  </a:lnTo>
                  <a:lnTo>
                    <a:pt x="235" y="89"/>
                  </a:lnTo>
                  <a:lnTo>
                    <a:pt x="235" y="89"/>
                  </a:lnTo>
                  <a:lnTo>
                    <a:pt x="235" y="89"/>
                  </a:lnTo>
                  <a:lnTo>
                    <a:pt x="233" y="78"/>
                  </a:lnTo>
                  <a:lnTo>
                    <a:pt x="229" y="68"/>
                  </a:lnTo>
                  <a:lnTo>
                    <a:pt x="225" y="59"/>
                  </a:lnTo>
                  <a:lnTo>
                    <a:pt x="219" y="51"/>
                  </a:lnTo>
                  <a:lnTo>
                    <a:pt x="213" y="44"/>
                  </a:lnTo>
                  <a:lnTo>
                    <a:pt x="207" y="39"/>
                  </a:lnTo>
                  <a:lnTo>
                    <a:pt x="199" y="33"/>
                  </a:lnTo>
                  <a:lnTo>
                    <a:pt x="191" y="28"/>
                  </a:lnTo>
                  <a:lnTo>
                    <a:pt x="191" y="28"/>
                  </a:lnTo>
                  <a:lnTo>
                    <a:pt x="191" y="28"/>
                  </a:lnTo>
                  <a:lnTo>
                    <a:pt x="182" y="25"/>
                  </a:lnTo>
                  <a:lnTo>
                    <a:pt x="174" y="23"/>
                  </a:lnTo>
                  <a:lnTo>
                    <a:pt x="165" y="22"/>
                  </a:lnTo>
                  <a:lnTo>
                    <a:pt x="156" y="20"/>
                  </a:lnTo>
                  <a:lnTo>
                    <a:pt x="147" y="20"/>
                  </a:lnTo>
                  <a:lnTo>
                    <a:pt x="136" y="22"/>
                  </a:lnTo>
                  <a:lnTo>
                    <a:pt x="127" y="23"/>
                  </a:lnTo>
                  <a:lnTo>
                    <a:pt x="117" y="26"/>
                  </a:lnTo>
                  <a:lnTo>
                    <a:pt x="117" y="26"/>
                  </a:lnTo>
                  <a:lnTo>
                    <a:pt x="117" y="26"/>
                  </a:lnTo>
                  <a:lnTo>
                    <a:pt x="107" y="30"/>
                  </a:lnTo>
                  <a:lnTo>
                    <a:pt x="97" y="33"/>
                  </a:lnTo>
                  <a:lnTo>
                    <a:pt x="88" y="39"/>
                  </a:lnTo>
                  <a:lnTo>
                    <a:pt x="79" y="44"/>
                  </a:lnTo>
                  <a:lnTo>
                    <a:pt x="71" y="50"/>
                  </a:lnTo>
                  <a:lnTo>
                    <a:pt x="63" y="57"/>
                  </a:lnTo>
                  <a:lnTo>
                    <a:pt x="55" y="65"/>
                  </a:lnTo>
                  <a:lnTo>
                    <a:pt x="49" y="73"/>
                  </a:lnTo>
                  <a:lnTo>
                    <a:pt x="49" y="73"/>
                  </a:lnTo>
                  <a:lnTo>
                    <a:pt x="49" y="73"/>
                  </a:lnTo>
                  <a:lnTo>
                    <a:pt x="42" y="82"/>
                  </a:lnTo>
                  <a:lnTo>
                    <a:pt x="37" y="91"/>
                  </a:lnTo>
                  <a:lnTo>
                    <a:pt x="32" y="100"/>
                  </a:lnTo>
                  <a:lnTo>
                    <a:pt x="29" y="110"/>
                  </a:lnTo>
                  <a:lnTo>
                    <a:pt x="26" y="120"/>
                  </a:lnTo>
                  <a:lnTo>
                    <a:pt x="24" y="131"/>
                  </a:lnTo>
                  <a:lnTo>
                    <a:pt x="22" y="141"/>
                  </a:lnTo>
                  <a:lnTo>
                    <a:pt x="22" y="152"/>
                  </a:lnTo>
                  <a:lnTo>
                    <a:pt x="22" y="152"/>
                  </a:lnTo>
                  <a:lnTo>
                    <a:pt x="22" y="152"/>
                  </a:lnTo>
                  <a:lnTo>
                    <a:pt x="22" y="163"/>
                  </a:lnTo>
                  <a:lnTo>
                    <a:pt x="23" y="176"/>
                  </a:lnTo>
                  <a:lnTo>
                    <a:pt x="25" y="186"/>
                  </a:lnTo>
                  <a:lnTo>
                    <a:pt x="27" y="196"/>
                  </a:lnTo>
                  <a:lnTo>
                    <a:pt x="32" y="207"/>
                  </a:lnTo>
                  <a:lnTo>
                    <a:pt x="37" y="217"/>
                  </a:lnTo>
                  <a:lnTo>
                    <a:pt x="42" y="226"/>
                  </a:lnTo>
                  <a:lnTo>
                    <a:pt x="49" y="234"/>
                  </a:lnTo>
                  <a:lnTo>
                    <a:pt x="49" y="234"/>
                  </a:lnTo>
                  <a:lnTo>
                    <a:pt x="49" y="234"/>
                  </a:lnTo>
                  <a:lnTo>
                    <a:pt x="58" y="243"/>
                  </a:lnTo>
                  <a:lnTo>
                    <a:pt x="67" y="251"/>
                  </a:lnTo>
                  <a:lnTo>
                    <a:pt x="76" y="256"/>
                  </a:lnTo>
                  <a:lnTo>
                    <a:pt x="88" y="261"/>
                  </a:lnTo>
                  <a:lnTo>
                    <a:pt x="99" y="266"/>
                  </a:lnTo>
                  <a:lnTo>
                    <a:pt x="110" y="268"/>
                  </a:lnTo>
                  <a:lnTo>
                    <a:pt x="124" y="269"/>
                  </a:lnTo>
                  <a:lnTo>
                    <a:pt x="137" y="269"/>
                  </a:lnTo>
                  <a:lnTo>
                    <a:pt x="137" y="269"/>
                  </a:lnTo>
                  <a:lnTo>
                    <a:pt x="137" y="269"/>
                  </a:lnTo>
                  <a:lnTo>
                    <a:pt x="151" y="268"/>
                  </a:lnTo>
                  <a:lnTo>
                    <a:pt x="165" y="266"/>
                  </a:lnTo>
                  <a:lnTo>
                    <a:pt x="177" y="261"/>
                  </a:lnTo>
                  <a:lnTo>
                    <a:pt x="190" y="256"/>
                  </a:lnTo>
                  <a:lnTo>
                    <a:pt x="201" y="250"/>
                  </a:lnTo>
                  <a:lnTo>
                    <a:pt x="212" y="242"/>
                  </a:lnTo>
                  <a:lnTo>
                    <a:pt x="223" y="234"/>
                  </a:lnTo>
                  <a:lnTo>
                    <a:pt x="232" y="224"/>
                  </a:lnTo>
                  <a:lnTo>
                    <a:pt x="232" y="224"/>
                  </a:lnTo>
                  <a:lnTo>
                    <a:pt x="232" y="224"/>
                  </a:lnTo>
                  <a:lnTo>
                    <a:pt x="248" y="203"/>
                  </a:lnTo>
                  <a:lnTo>
                    <a:pt x="248" y="203"/>
                  </a:lnTo>
                  <a:lnTo>
                    <a:pt x="248" y="203"/>
                  </a:lnTo>
                  <a:lnTo>
                    <a:pt x="251" y="199"/>
                  </a:lnTo>
                  <a:lnTo>
                    <a:pt x="257" y="194"/>
                  </a:lnTo>
                  <a:lnTo>
                    <a:pt x="261" y="192"/>
                  </a:lnTo>
                  <a:lnTo>
                    <a:pt x="267" y="191"/>
                  </a:lnTo>
                  <a:lnTo>
                    <a:pt x="267" y="191"/>
                  </a:lnTo>
                  <a:lnTo>
                    <a:pt x="267" y="191"/>
                  </a:lnTo>
                  <a:lnTo>
                    <a:pt x="274" y="191"/>
                  </a:lnTo>
                  <a:lnTo>
                    <a:pt x="279" y="192"/>
                  </a:lnTo>
                  <a:lnTo>
                    <a:pt x="283" y="194"/>
                  </a:lnTo>
                  <a:lnTo>
                    <a:pt x="285" y="197"/>
                  </a:lnTo>
                  <a:lnTo>
                    <a:pt x="285" y="197"/>
                  </a:lnTo>
                  <a:lnTo>
                    <a:pt x="285" y="197"/>
                  </a:lnTo>
                  <a:lnTo>
                    <a:pt x="285" y="200"/>
                  </a:lnTo>
                  <a:lnTo>
                    <a:pt x="284" y="203"/>
                  </a:lnTo>
                  <a:lnTo>
                    <a:pt x="284" y="203"/>
                  </a:lnTo>
                  <a:lnTo>
                    <a:pt x="284" y="203"/>
                  </a:lnTo>
                  <a:lnTo>
                    <a:pt x="278" y="214"/>
                  </a:lnTo>
                  <a:lnTo>
                    <a:pt x="272" y="225"/>
                  </a:lnTo>
                  <a:lnTo>
                    <a:pt x="266" y="235"/>
                  </a:lnTo>
                  <a:lnTo>
                    <a:pt x="259" y="244"/>
                  </a:lnTo>
                  <a:lnTo>
                    <a:pt x="251" y="253"/>
                  </a:lnTo>
                  <a:lnTo>
                    <a:pt x="243" y="260"/>
                  </a:lnTo>
                  <a:lnTo>
                    <a:pt x="234" y="268"/>
                  </a:lnTo>
                  <a:lnTo>
                    <a:pt x="225" y="273"/>
                  </a:lnTo>
                  <a:lnTo>
                    <a:pt x="216" y="279"/>
                  </a:lnTo>
                  <a:lnTo>
                    <a:pt x="206" y="285"/>
                  </a:lnTo>
                  <a:lnTo>
                    <a:pt x="195" y="289"/>
                  </a:lnTo>
                  <a:lnTo>
                    <a:pt x="184" y="293"/>
                  </a:lnTo>
                  <a:lnTo>
                    <a:pt x="173" y="295"/>
                  </a:lnTo>
                  <a:lnTo>
                    <a:pt x="161" y="297"/>
                  </a:lnTo>
                  <a:lnTo>
                    <a:pt x="149" y="298"/>
                  </a:lnTo>
                  <a:lnTo>
                    <a:pt x="136" y="300"/>
                  </a:lnTo>
                  <a:lnTo>
                    <a:pt x="136" y="300"/>
                  </a:lnTo>
                  <a:lnTo>
                    <a:pt x="136" y="300"/>
                  </a:lnTo>
                  <a:lnTo>
                    <a:pt x="120" y="298"/>
                  </a:lnTo>
                  <a:lnTo>
                    <a:pt x="105" y="297"/>
                  </a:lnTo>
                  <a:lnTo>
                    <a:pt x="90" y="293"/>
                  </a:lnTo>
                  <a:lnTo>
                    <a:pt x="76" y="288"/>
                  </a:lnTo>
                  <a:lnTo>
                    <a:pt x="76" y="288"/>
                  </a:lnTo>
                  <a:lnTo>
                    <a:pt x="76" y="288"/>
                  </a:lnTo>
                  <a:lnTo>
                    <a:pt x="64" y="281"/>
                  </a:lnTo>
                  <a:lnTo>
                    <a:pt x="52" y="273"/>
                  </a:lnTo>
                  <a:lnTo>
                    <a:pt x="42" y="264"/>
                  </a:lnTo>
                  <a:lnTo>
                    <a:pt x="32" y="254"/>
                  </a:lnTo>
                  <a:lnTo>
                    <a:pt x="32" y="254"/>
                  </a:lnTo>
                  <a:lnTo>
                    <a:pt x="32" y="254"/>
                  </a:lnTo>
                  <a:lnTo>
                    <a:pt x="24" y="244"/>
                  </a:lnTo>
                  <a:lnTo>
                    <a:pt x="17" y="234"/>
                  </a:lnTo>
                  <a:lnTo>
                    <a:pt x="12" y="222"/>
                  </a:lnTo>
                  <a:lnTo>
                    <a:pt x="7" y="210"/>
                  </a:lnTo>
                  <a:lnTo>
                    <a:pt x="4" y="197"/>
                  </a:lnTo>
                  <a:lnTo>
                    <a:pt x="1" y="185"/>
                  </a:lnTo>
                  <a:lnTo>
                    <a:pt x="0" y="171"/>
                  </a:lnTo>
                  <a:lnTo>
                    <a:pt x="0" y="158"/>
                  </a:lnTo>
                  <a:lnTo>
                    <a:pt x="0" y="158"/>
                  </a:lnTo>
                  <a:lnTo>
                    <a:pt x="0" y="158"/>
                  </a:lnTo>
                  <a:lnTo>
                    <a:pt x="1" y="145"/>
                  </a:lnTo>
                  <a:lnTo>
                    <a:pt x="4" y="132"/>
                  </a:lnTo>
                  <a:lnTo>
                    <a:pt x="6" y="120"/>
                  </a:lnTo>
                  <a:lnTo>
                    <a:pt x="9" y="108"/>
                  </a:lnTo>
                  <a:lnTo>
                    <a:pt x="15" y="96"/>
                  </a:lnTo>
                  <a:lnTo>
                    <a:pt x="20" y="85"/>
                  </a:lnTo>
                  <a:lnTo>
                    <a:pt x="26" y="75"/>
                  </a:lnTo>
                  <a:lnTo>
                    <a:pt x="34" y="65"/>
                  </a:lnTo>
                  <a:lnTo>
                    <a:pt x="34" y="65"/>
                  </a:lnTo>
                  <a:lnTo>
                    <a:pt x="34" y="65"/>
                  </a:lnTo>
                  <a:lnTo>
                    <a:pt x="42" y="55"/>
                  </a:lnTo>
                  <a:lnTo>
                    <a:pt x="51" y="45"/>
                  </a:lnTo>
                  <a:lnTo>
                    <a:pt x="60" y="36"/>
                  </a:lnTo>
                  <a:lnTo>
                    <a:pt x="71" y="30"/>
                  </a:lnTo>
                  <a:lnTo>
                    <a:pt x="81" y="23"/>
                  </a:lnTo>
                  <a:lnTo>
                    <a:pt x="92" y="17"/>
                  </a:lnTo>
                  <a:lnTo>
                    <a:pt x="103" y="11"/>
                  </a:lnTo>
                  <a:lnTo>
                    <a:pt x="116" y="7"/>
                  </a:lnTo>
                  <a:lnTo>
                    <a:pt x="116" y="7"/>
                  </a:lnTo>
                  <a:lnTo>
                    <a:pt x="116" y="7"/>
                  </a:lnTo>
                  <a:lnTo>
                    <a:pt x="127" y="3"/>
                  </a:lnTo>
                  <a:lnTo>
                    <a:pt x="139" y="1"/>
                  </a:lnTo>
                  <a:lnTo>
                    <a:pt x="150" y="0"/>
                  </a:lnTo>
                  <a:lnTo>
                    <a:pt x="161" y="0"/>
                  </a:lnTo>
                  <a:lnTo>
                    <a:pt x="173" y="0"/>
                  </a:lnTo>
                  <a:lnTo>
                    <a:pt x="184" y="2"/>
                  </a:lnTo>
                  <a:lnTo>
                    <a:pt x="195" y="5"/>
                  </a:lnTo>
                  <a:lnTo>
                    <a:pt x="206" y="8"/>
                  </a:lnTo>
                  <a:lnTo>
                    <a:pt x="206" y="8"/>
                  </a:lnTo>
                  <a:lnTo>
                    <a:pt x="206" y="8"/>
                  </a:lnTo>
                  <a:lnTo>
                    <a:pt x="218" y="14"/>
                  </a:lnTo>
                  <a:lnTo>
                    <a:pt x="228" y="19"/>
                  </a:lnTo>
                  <a:lnTo>
                    <a:pt x="238" y="26"/>
                  </a:lnTo>
                  <a:lnTo>
                    <a:pt x="246" y="35"/>
                  </a:lnTo>
                  <a:lnTo>
                    <a:pt x="253" y="44"/>
                  </a:lnTo>
                  <a:lnTo>
                    <a:pt x="260" y="55"/>
                  </a:lnTo>
                  <a:lnTo>
                    <a:pt x="265" y="66"/>
                  </a:lnTo>
                  <a:lnTo>
                    <a:pt x="268" y="79"/>
                  </a:lnTo>
                  <a:lnTo>
                    <a:pt x="268" y="79"/>
                  </a:lnTo>
                  <a:close/>
                  <a:moveTo>
                    <a:pt x="127" y="72"/>
                  </a:moveTo>
                  <a:lnTo>
                    <a:pt x="127" y="72"/>
                  </a:lnTo>
                  <a:lnTo>
                    <a:pt x="122" y="73"/>
                  </a:lnTo>
                  <a:lnTo>
                    <a:pt x="117" y="76"/>
                  </a:lnTo>
                  <a:lnTo>
                    <a:pt x="111" y="81"/>
                  </a:lnTo>
                  <a:lnTo>
                    <a:pt x="107" y="85"/>
                  </a:lnTo>
                  <a:lnTo>
                    <a:pt x="102" y="92"/>
                  </a:lnTo>
                  <a:lnTo>
                    <a:pt x="98" y="99"/>
                  </a:lnTo>
                  <a:lnTo>
                    <a:pt x="90" y="117"/>
                  </a:lnTo>
                  <a:lnTo>
                    <a:pt x="90" y="117"/>
                  </a:lnTo>
                  <a:lnTo>
                    <a:pt x="90" y="117"/>
                  </a:lnTo>
                  <a:lnTo>
                    <a:pt x="84" y="134"/>
                  </a:lnTo>
                  <a:lnTo>
                    <a:pt x="80" y="151"/>
                  </a:lnTo>
                  <a:lnTo>
                    <a:pt x="77" y="166"/>
                  </a:lnTo>
                  <a:lnTo>
                    <a:pt x="77" y="180"/>
                  </a:lnTo>
                  <a:lnTo>
                    <a:pt x="77" y="180"/>
                  </a:lnTo>
                  <a:lnTo>
                    <a:pt x="77" y="180"/>
                  </a:lnTo>
                  <a:lnTo>
                    <a:pt x="79" y="194"/>
                  </a:lnTo>
                  <a:lnTo>
                    <a:pt x="81" y="199"/>
                  </a:lnTo>
                  <a:lnTo>
                    <a:pt x="82" y="203"/>
                  </a:lnTo>
                  <a:lnTo>
                    <a:pt x="85" y="205"/>
                  </a:lnTo>
                  <a:lnTo>
                    <a:pt x="88" y="208"/>
                  </a:lnTo>
                  <a:lnTo>
                    <a:pt x="92" y="209"/>
                  </a:lnTo>
                  <a:lnTo>
                    <a:pt x="96" y="209"/>
                  </a:lnTo>
                  <a:lnTo>
                    <a:pt x="96" y="209"/>
                  </a:lnTo>
                  <a:lnTo>
                    <a:pt x="96" y="209"/>
                  </a:lnTo>
                  <a:lnTo>
                    <a:pt x="100" y="208"/>
                  </a:lnTo>
                  <a:lnTo>
                    <a:pt x="105" y="207"/>
                  </a:lnTo>
                  <a:lnTo>
                    <a:pt x="109" y="203"/>
                  </a:lnTo>
                  <a:lnTo>
                    <a:pt x="114" y="200"/>
                  </a:lnTo>
                  <a:lnTo>
                    <a:pt x="122" y="190"/>
                  </a:lnTo>
                  <a:lnTo>
                    <a:pt x="130" y="175"/>
                  </a:lnTo>
                  <a:lnTo>
                    <a:pt x="130" y="175"/>
                  </a:lnTo>
                  <a:lnTo>
                    <a:pt x="130" y="175"/>
                  </a:lnTo>
                  <a:lnTo>
                    <a:pt x="135" y="163"/>
                  </a:lnTo>
                  <a:lnTo>
                    <a:pt x="140" y="151"/>
                  </a:lnTo>
                  <a:lnTo>
                    <a:pt x="143" y="138"/>
                  </a:lnTo>
                  <a:lnTo>
                    <a:pt x="145" y="126"/>
                  </a:lnTo>
                  <a:lnTo>
                    <a:pt x="145" y="126"/>
                  </a:lnTo>
                  <a:lnTo>
                    <a:pt x="145" y="126"/>
                  </a:lnTo>
                  <a:lnTo>
                    <a:pt x="149" y="108"/>
                  </a:lnTo>
                  <a:lnTo>
                    <a:pt x="149" y="92"/>
                  </a:lnTo>
                  <a:lnTo>
                    <a:pt x="149" y="92"/>
                  </a:lnTo>
                  <a:lnTo>
                    <a:pt x="149" y="92"/>
                  </a:lnTo>
                  <a:lnTo>
                    <a:pt x="147" y="82"/>
                  </a:lnTo>
                  <a:lnTo>
                    <a:pt x="144" y="77"/>
                  </a:lnTo>
                  <a:lnTo>
                    <a:pt x="142" y="74"/>
                  </a:lnTo>
                  <a:lnTo>
                    <a:pt x="139" y="72"/>
                  </a:lnTo>
                  <a:lnTo>
                    <a:pt x="135" y="70"/>
                  </a:lnTo>
                  <a:lnTo>
                    <a:pt x="132" y="70"/>
                  </a:lnTo>
                  <a:lnTo>
                    <a:pt x="127" y="72"/>
                  </a:lnTo>
                  <a:lnTo>
                    <a:pt x="127" y="72"/>
                  </a:lnTo>
                  <a:close/>
                </a:path>
              </a:pathLst>
            </a:custGeom>
            <a:solidFill>
              <a:schemeClr val="tx1">
                <a:lumMod val="75000"/>
                <a:lumOff val="25000"/>
              </a:schemeClr>
            </a:solidFill>
            <a:ln>
              <a:noFill/>
            </a:ln>
            <a:extLst/>
          </p:spPr>
          <p:txBody>
            <a:bodyPr/>
            <a:lstStyle/>
            <a:p>
              <a:pPr>
                <a:defRPr/>
              </a:pPr>
              <a:endParaRPr lang="en-US">
                <a:latin typeface="Calibri" charset="0"/>
                <a:ea typeface="ＭＳ Ｐゴシック" charset="0"/>
                <a:cs typeface="ＭＳ Ｐゴシック" charset="0"/>
              </a:endParaRPr>
            </a:p>
          </p:txBody>
        </p:sp>
        <p:sp>
          <p:nvSpPr>
            <p:cNvPr id="13" name="TextBox 12"/>
            <p:cNvSpPr txBox="1"/>
            <p:nvPr>
              <p:custDataLst>
                <p:tags r:id="rId9"/>
              </p:custDataLst>
            </p:nvPr>
          </p:nvSpPr>
          <p:spPr>
            <a:xfrm>
              <a:off x="2453742" y="5185437"/>
              <a:ext cx="1673387" cy="204445"/>
            </a:xfrm>
            <a:prstGeom prst="rect">
              <a:avLst/>
            </a:prstGeom>
            <a:noFill/>
          </p:spPr>
          <p:txBody>
            <a:bodyPr lIns="0" tIns="0" rIns="0" bIns="0" anchor="b">
              <a:spAutoFit/>
            </a:bodyPr>
            <a:lstStyle/>
            <a:p>
              <a:pPr>
                <a:defRPr/>
              </a:pPr>
              <a:r>
                <a:rPr lang="en-US" altLang="zh-CN" sz="1000" b="1" dirty="0">
                  <a:solidFill>
                    <a:schemeClr val="tx1">
                      <a:lumMod val="75000"/>
                      <a:lumOff val="25000"/>
                    </a:schemeClr>
                  </a:solidFill>
                  <a:latin typeface="Calibri" charset="0"/>
                  <a:ea typeface="ＭＳ Ｐゴシック" charset="0"/>
                  <a:cs typeface="ＭＳ Ｐゴシック" charset="0"/>
                </a:rPr>
                <a:t>info</a:t>
              </a:r>
              <a:r>
                <a:rPr lang="en-US" sz="1000" b="1" dirty="0">
                  <a:solidFill>
                    <a:schemeClr val="tx1">
                      <a:lumMod val="75000"/>
                      <a:lumOff val="25000"/>
                    </a:schemeClr>
                  </a:solidFill>
                  <a:latin typeface="Calibri" charset="0"/>
                  <a:ea typeface="ＭＳ Ｐゴシック" charset="0"/>
                  <a:cs typeface="ＭＳ Ｐゴシック" charset="0"/>
                </a:rPr>
                <a:t>@ray-can.com </a:t>
              </a:r>
            </a:p>
          </p:txBody>
        </p:sp>
      </p:grpSp>
      <p:grpSp>
        <p:nvGrpSpPr>
          <p:cNvPr id="14" name="Group 346"/>
          <p:cNvGrpSpPr>
            <a:grpSpLocks/>
          </p:cNvGrpSpPr>
          <p:nvPr/>
        </p:nvGrpSpPr>
        <p:grpSpPr bwMode="auto">
          <a:xfrm>
            <a:off x="4891089" y="3649121"/>
            <a:ext cx="2085975" cy="178594"/>
            <a:chOff x="4198218" y="4862941"/>
            <a:chExt cx="2086601" cy="239221"/>
          </a:xfrm>
        </p:grpSpPr>
        <p:sp>
          <p:nvSpPr>
            <p:cNvPr id="15" name="Freeform 55"/>
            <p:cNvSpPr>
              <a:spLocks/>
            </p:cNvSpPr>
            <p:nvPr>
              <p:custDataLst>
                <p:tags r:id="rId6"/>
              </p:custDataLst>
            </p:nvPr>
          </p:nvSpPr>
          <p:spPr bwMode="auto">
            <a:xfrm>
              <a:off x="4198218" y="4862941"/>
              <a:ext cx="296951" cy="239221"/>
            </a:xfrm>
            <a:custGeom>
              <a:avLst/>
              <a:gdLst/>
              <a:ahLst/>
              <a:cxnLst/>
              <a:rect l="l" t="t" r="r" b="b"/>
              <a:pathLst>
                <a:path w="646113" h="519113">
                  <a:moveTo>
                    <a:pt x="322263" y="68263"/>
                  </a:moveTo>
                  <a:lnTo>
                    <a:pt x="336550" y="71438"/>
                  </a:lnTo>
                  <a:lnTo>
                    <a:pt x="352425" y="76201"/>
                  </a:lnTo>
                  <a:lnTo>
                    <a:pt x="365125" y="84138"/>
                  </a:lnTo>
                  <a:lnTo>
                    <a:pt x="377825" y="92076"/>
                  </a:lnTo>
                  <a:lnTo>
                    <a:pt x="557213" y="271463"/>
                  </a:lnTo>
                  <a:lnTo>
                    <a:pt x="557213" y="479426"/>
                  </a:lnTo>
                  <a:lnTo>
                    <a:pt x="557213" y="485776"/>
                  </a:lnTo>
                  <a:lnTo>
                    <a:pt x="552451" y="495301"/>
                  </a:lnTo>
                  <a:lnTo>
                    <a:pt x="549276" y="500063"/>
                  </a:lnTo>
                  <a:lnTo>
                    <a:pt x="544513" y="508001"/>
                  </a:lnTo>
                  <a:lnTo>
                    <a:pt x="538163" y="512763"/>
                  </a:lnTo>
                  <a:lnTo>
                    <a:pt x="531813" y="517526"/>
                  </a:lnTo>
                  <a:lnTo>
                    <a:pt x="523876" y="519113"/>
                  </a:lnTo>
                  <a:lnTo>
                    <a:pt x="514351" y="519113"/>
                  </a:lnTo>
                  <a:lnTo>
                    <a:pt x="415925" y="519113"/>
                  </a:lnTo>
                  <a:lnTo>
                    <a:pt x="415925" y="396876"/>
                  </a:lnTo>
                  <a:lnTo>
                    <a:pt x="415925" y="392113"/>
                  </a:lnTo>
                  <a:lnTo>
                    <a:pt x="412750" y="385763"/>
                  </a:lnTo>
                  <a:lnTo>
                    <a:pt x="407988" y="379413"/>
                  </a:lnTo>
                  <a:lnTo>
                    <a:pt x="398463" y="371476"/>
                  </a:lnTo>
                  <a:lnTo>
                    <a:pt x="395288" y="369888"/>
                  </a:lnTo>
                  <a:lnTo>
                    <a:pt x="390525" y="369888"/>
                  </a:lnTo>
                  <a:lnTo>
                    <a:pt x="255588" y="369888"/>
                  </a:lnTo>
                  <a:lnTo>
                    <a:pt x="250825" y="369888"/>
                  </a:lnTo>
                  <a:lnTo>
                    <a:pt x="246063" y="371476"/>
                  </a:lnTo>
                  <a:lnTo>
                    <a:pt x="238125" y="379413"/>
                  </a:lnTo>
                  <a:lnTo>
                    <a:pt x="231775" y="385763"/>
                  </a:lnTo>
                  <a:lnTo>
                    <a:pt x="230188" y="392113"/>
                  </a:lnTo>
                  <a:lnTo>
                    <a:pt x="230188" y="396876"/>
                  </a:lnTo>
                  <a:lnTo>
                    <a:pt x="230188" y="519113"/>
                  </a:lnTo>
                  <a:lnTo>
                    <a:pt x="130175" y="519113"/>
                  </a:lnTo>
                  <a:lnTo>
                    <a:pt x="122238" y="519113"/>
                  </a:lnTo>
                  <a:lnTo>
                    <a:pt x="114300" y="517526"/>
                  </a:lnTo>
                  <a:lnTo>
                    <a:pt x="106363" y="512763"/>
                  </a:lnTo>
                  <a:lnTo>
                    <a:pt x="101600" y="508001"/>
                  </a:lnTo>
                  <a:lnTo>
                    <a:pt x="96838" y="500063"/>
                  </a:lnTo>
                  <a:lnTo>
                    <a:pt x="92075" y="495301"/>
                  </a:lnTo>
                  <a:lnTo>
                    <a:pt x="88900" y="485776"/>
                  </a:lnTo>
                  <a:lnTo>
                    <a:pt x="88900" y="479426"/>
                  </a:lnTo>
                  <a:lnTo>
                    <a:pt x="88900" y="271463"/>
                  </a:lnTo>
                  <a:lnTo>
                    <a:pt x="268288" y="92076"/>
                  </a:lnTo>
                  <a:lnTo>
                    <a:pt x="280988" y="84138"/>
                  </a:lnTo>
                  <a:lnTo>
                    <a:pt x="293688" y="76201"/>
                  </a:lnTo>
                  <a:lnTo>
                    <a:pt x="307975" y="71438"/>
                  </a:lnTo>
                  <a:close/>
                  <a:moveTo>
                    <a:pt x="309563" y="0"/>
                  </a:moveTo>
                  <a:lnTo>
                    <a:pt x="322263" y="0"/>
                  </a:lnTo>
                  <a:lnTo>
                    <a:pt x="334963" y="0"/>
                  </a:lnTo>
                  <a:lnTo>
                    <a:pt x="346075" y="1588"/>
                  </a:lnTo>
                  <a:lnTo>
                    <a:pt x="358775" y="4763"/>
                  </a:lnTo>
                  <a:lnTo>
                    <a:pt x="369888" y="9525"/>
                  </a:lnTo>
                  <a:lnTo>
                    <a:pt x="381000" y="14288"/>
                  </a:lnTo>
                  <a:lnTo>
                    <a:pt x="392113" y="20638"/>
                  </a:lnTo>
                  <a:lnTo>
                    <a:pt x="400050" y="26988"/>
                  </a:lnTo>
                  <a:lnTo>
                    <a:pt x="409575" y="36513"/>
                  </a:lnTo>
                  <a:lnTo>
                    <a:pt x="639763" y="266700"/>
                  </a:lnTo>
                  <a:lnTo>
                    <a:pt x="642938" y="271463"/>
                  </a:lnTo>
                  <a:lnTo>
                    <a:pt x="646113" y="279400"/>
                  </a:lnTo>
                  <a:lnTo>
                    <a:pt x="642938" y="285750"/>
                  </a:lnTo>
                  <a:lnTo>
                    <a:pt x="639763" y="293688"/>
                  </a:lnTo>
                  <a:lnTo>
                    <a:pt x="635001" y="296863"/>
                  </a:lnTo>
                  <a:lnTo>
                    <a:pt x="627063" y="298450"/>
                  </a:lnTo>
                  <a:lnTo>
                    <a:pt x="620713" y="296863"/>
                  </a:lnTo>
                  <a:lnTo>
                    <a:pt x="612776" y="293688"/>
                  </a:lnTo>
                  <a:lnTo>
                    <a:pt x="382588" y="63500"/>
                  </a:lnTo>
                  <a:lnTo>
                    <a:pt x="369888" y="52388"/>
                  </a:lnTo>
                  <a:lnTo>
                    <a:pt x="355600" y="46038"/>
                  </a:lnTo>
                  <a:lnTo>
                    <a:pt x="339725" y="39688"/>
                  </a:lnTo>
                  <a:lnTo>
                    <a:pt x="322263" y="38100"/>
                  </a:lnTo>
                  <a:lnTo>
                    <a:pt x="306388" y="39688"/>
                  </a:lnTo>
                  <a:lnTo>
                    <a:pt x="290513" y="46038"/>
                  </a:lnTo>
                  <a:lnTo>
                    <a:pt x="276225" y="52388"/>
                  </a:lnTo>
                  <a:lnTo>
                    <a:pt x="263525" y="63500"/>
                  </a:lnTo>
                  <a:lnTo>
                    <a:pt x="33338" y="293688"/>
                  </a:lnTo>
                  <a:lnTo>
                    <a:pt x="25400" y="296863"/>
                  </a:lnTo>
                  <a:lnTo>
                    <a:pt x="17463" y="298450"/>
                  </a:lnTo>
                  <a:lnTo>
                    <a:pt x="11113" y="296863"/>
                  </a:lnTo>
                  <a:lnTo>
                    <a:pt x="4763" y="293688"/>
                  </a:lnTo>
                  <a:lnTo>
                    <a:pt x="1588" y="285750"/>
                  </a:lnTo>
                  <a:lnTo>
                    <a:pt x="0" y="279400"/>
                  </a:lnTo>
                  <a:lnTo>
                    <a:pt x="1588" y="271463"/>
                  </a:lnTo>
                  <a:lnTo>
                    <a:pt x="4763" y="266700"/>
                  </a:lnTo>
                  <a:lnTo>
                    <a:pt x="234950" y="36513"/>
                  </a:lnTo>
                  <a:lnTo>
                    <a:pt x="244475" y="26988"/>
                  </a:lnTo>
                  <a:lnTo>
                    <a:pt x="254000" y="20638"/>
                  </a:lnTo>
                  <a:lnTo>
                    <a:pt x="265113" y="14288"/>
                  </a:lnTo>
                  <a:lnTo>
                    <a:pt x="276225" y="9525"/>
                  </a:lnTo>
                  <a:lnTo>
                    <a:pt x="285750" y="4763"/>
                  </a:lnTo>
                  <a:lnTo>
                    <a:pt x="298450" y="1588"/>
                  </a:lnTo>
                  <a:close/>
                </a:path>
              </a:pathLst>
            </a:custGeom>
            <a:solidFill>
              <a:schemeClr val="tx1">
                <a:lumMod val="75000"/>
                <a:lumOff val="25000"/>
              </a:schemeClr>
            </a:solidFill>
            <a:ln>
              <a:noFill/>
            </a:ln>
            <a:extLst/>
          </p:spPr>
          <p:txBody>
            <a:bodyPr/>
            <a:lstStyle/>
            <a:p>
              <a:pPr>
                <a:defRPr/>
              </a:pPr>
              <a:endParaRPr lang="en-US">
                <a:latin typeface="Calibri" charset="0"/>
                <a:ea typeface="ＭＳ Ｐゴシック" charset="0"/>
                <a:cs typeface="ＭＳ Ｐゴシック" charset="0"/>
              </a:endParaRPr>
            </a:p>
          </p:txBody>
        </p:sp>
        <p:sp>
          <p:nvSpPr>
            <p:cNvPr id="16" name="TextBox 15"/>
            <p:cNvSpPr txBox="1"/>
            <p:nvPr>
              <p:custDataLst>
                <p:tags r:id="rId7"/>
              </p:custDataLst>
            </p:nvPr>
          </p:nvSpPr>
          <p:spPr>
            <a:xfrm>
              <a:off x="4612679" y="4875302"/>
              <a:ext cx="1672140" cy="206128"/>
            </a:xfrm>
            <a:prstGeom prst="rect">
              <a:avLst/>
            </a:prstGeom>
            <a:noFill/>
          </p:spPr>
          <p:txBody>
            <a:bodyPr lIns="0" tIns="0" rIns="0" bIns="0" anchor="b">
              <a:spAutoFit/>
            </a:bodyPr>
            <a:lstStyle/>
            <a:p>
              <a:pPr>
                <a:defRPr/>
              </a:pPr>
              <a:r>
                <a:rPr lang="zh-CN" altLang="en-US" sz="1000" b="1" dirty="0">
                  <a:solidFill>
                    <a:schemeClr val="tx1">
                      <a:lumMod val="75000"/>
                      <a:lumOff val="25000"/>
                    </a:schemeClr>
                  </a:solidFill>
                  <a:latin typeface="Calibri" charset="0"/>
                  <a:ea typeface="ＭＳ Ｐゴシック" charset="0"/>
                  <a:cs typeface="ＭＳ Ｐゴシック" charset="0"/>
                </a:rPr>
                <a:t>苏州高</a:t>
              </a:r>
              <a:r>
                <a:rPr lang="zh-CN" altLang="en-US" sz="1000" b="1" dirty="0" smtClean="0">
                  <a:solidFill>
                    <a:schemeClr val="tx1">
                      <a:lumMod val="75000"/>
                      <a:lumOff val="25000"/>
                    </a:schemeClr>
                  </a:solidFill>
                  <a:latin typeface="Calibri" charset="0"/>
                  <a:ea typeface="ＭＳ Ｐゴシック" charset="0"/>
                  <a:cs typeface="ＭＳ Ｐゴシック" charset="0"/>
                </a:rPr>
                <a:t>新区锦峰路</a:t>
              </a:r>
              <a:r>
                <a:rPr lang="en-US" altLang="zh-CN" sz="1000" b="1" dirty="0" smtClean="0">
                  <a:solidFill>
                    <a:schemeClr val="tx1">
                      <a:lumMod val="75000"/>
                      <a:lumOff val="25000"/>
                    </a:schemeClr>
                  </a:solidFill>
                  <a:latin typeface="Calibri" charset="0"/>
                  <a:ea typeface="ＭＳ Ｐゴシック" charset="0"/>
                  <a:cs typeface="ＭＳ Ｐゴシック" charset="0"/>
                </a:rPr>
                <a:t>8</a:t>
              </a:r>
              <a:r>
                <a:rPr lang="zh-CN" altLang="en-US" sz="1000" b="1" dirty="0" smtClean="0">
                  <a:solidFill>
                    <a:schemeClr val="tx1">
                      <a:lumMod val="75000"/>
                      <a:lumOff val="25000"/>
                    </a:schemeClr>
                  </a:solidFill>
                  <a:latin typeface="Calibri" charset="0"/>
                  <a:ea typeface="ＭＳ Ｐゴシック" charset="0"/>
                  <a:cs typeface="ＭＳ Ｐゴシック" charset="0"/>
                </a:rPr>
                <a:t>号</a:t>
              </a:r>
              <a:r>
                <a:rPr lang="en-US" altLang="zh-CN" sz="1000" b="1" dirty="0" smtClean="0">
                  <a:solidFill>
                    <a:schemeClr val="tx1">
                      <a:lumMod val="75000"/>
                      <a:lumOff val="25000"/>
                    </a:schemeClr>
                  </a:solidFill>
                  <a:latin typeface="Calibri" charset="0"/>
                  <a:ea typeface="ＭＳ Ｐゴシック" charset="0"/>
                  <a:cs typeface="ＭＳ Ｐゴシック" charset="0"/>
                </a:rPr>
                <a:t>17</a:t>
              </a:r>
              <a:r>
                <a:rPr lang="zh-CN" altLang="en-US" sz="1000" b="1" dirty="0" smtClean="0">
                  <a:solidFill>
                    <a:schemeClr val="tx1">
                      <a:lumMod val="75000"/>
                      <a:lumOff val="25000"/>
                    </a:schemeClr>
                  </a:solidFill>
                  <a:latin typeface="Calibri" charset="0"/>
                  <a:ea typeface="ＭＳ Ｐゴシック" charset="0"/>
                  <a:cs typeface="ＭＳ Ｐゴシック" charset="0"/>
                </a:rPr>
                <a:t>栋</a:t>
              </a:r>
              <a:endParaRPr lang="en-US" sz="1000" b="1" dirty="0">
                <a:solidFill>
                  <a:schemeClr val="tx1">
                    <a:lumMod val="75000"/>
                    <a:lumOff val="25000"/>
                  </a:schemeClr>
                </a:solidFill>
                <a:latin typeface="Calibri" charset="0"/>
                <a:ea typeface="ＭＳ Ｐゴシック" charset="0"/>
                <a:cs typeface="ＭＳ Ｐゴシック" charset="0"/>
              </a:endParaRPr>
            </a:p>
          </p:txBody>
        </p:sp>
      </p:grpSp>
      <p:grpSp>
        <p:nvGrpSpPr>
          <p:cNvPr id="17" name="Group 345"/>
          <p:cNvGrpSpPr>
            <a:grpSpLocks/>
          </p:cNvGrpSpPr>
          <p:nvPr/>
        </p:nvGrpSpPr>
        <p:grpSpPr bwMode="auto">
          <a:xfrm>
            <a:off x="4981576" y="3988450"/>
            <a:ext cx="2011363" cy="198834"/>
            <a:chOff x="4273367" y="5173839"/>
            <a:chExt cx="2011452" cy="265487"/>
          </a:xfrm>
        </p:grpSpPr>
        <p:grpSp>
          <p:nvGrpSpPr>
            <p:cNvPr id="18" name="Group 26"/>
            <p:cNvGrpSpPr/>
            <p:nvPr>
              <p:custDataLst>
                <p:tags r:id="rId4"/>
              </p:custDataLst>
            </p:nvPr>
          </p:nvGrpSpPr>
          <p:grpSpPr>
            <a:xfrm>
              <a:off x="4273367" y="5173839"/>
              <a:ext cx="133788" cy="265487"/>
              <a:chOff x="495297" y="2027765"/>
              <a:chExt cx="1484464" cy="2945752"/>
            </a:xfrm>
            <a:solidFill>
              <a:schemeClr val="tx1">
                <a:lumMod val="75000"/>
                <a:lumOff val="25000"/>
              </a:schemeClr>
            </a:solidFill>
          </p:grpSpPr>
          <p:sp>
            <p:nvSpPr>
              <p:cNvPr id="20" name="Freeform 197"/>
              <p:cNvSpPr>
                <a:spLocks noEditPoints="1"/>
              </p:cNvSpPr>
              <p:nvPr/>
            </p:nvSpPr>
            <p:spPr bwMode="auto">
              <a:xfrm>
                <a:off x="495297" y="2027765"/>
                <a:ext cx="1484464" cy="2945752"/>
              </a:xfrm>
              <a:custGeom>
                <a:avLst/>
                <a:gdLst>
                  <a:gd name="T0" fmla="*/ 845 w 964"/>
                  <a:gd name="T1" fmla="*/ 3 h 1906"/>
                  <a:gd name="T2" fmla="*/ 898 w 964"/>
                  <a:gd name="T3" fmla="*/ 26 h 1906"/>
                  <a:gd name="T4" fmla="*/ 939 w 964"/>
                  <a:gd name="T5" fmla="*/ 65 h 1906"/>
                  <a:gd name="T6" fmla="*/ 961 w 964"/>
                  <a:gd name="T7" fmla="*/ 118 h 1906"/>
                  <a:gd name="T8" fmla="*/ 964 w 964"/>
                  <a:gd name="T9" fmla="*/ 1773 h 1906"/>
                  <a:gd name="T10" fmla="*/ 947 w 964"/>
                  <a:gd name="T11" fmla="*/ 1829 h 1906"/>
                  <a:gd name="T12" fmla="*/ 909 w 964"/>
                  <a:gd name="T13" fmla="*/ 1872 h 1906"/>
                  <a:gd name="T14" fmla="*/ 860 w 964"/>
                  <a:gd name="T15" fmla="*/ 1901 h 1906"/>
                  <a:gd name="T16" fmla="*/ 149 w 964"/>
                  <a:gd name="T17" fmla="*/ 1906 h 1906"/>
                  <a:gd name="T18" fmla="*/ 92 w 964"/>
                  <a:gd name="T19" fmla="*/ 1895 h 1906"/>
                  <a:gd name="T20" fmla="*/ 44 w 964"/>
                  <a:gd name="T21" fmla="*/ 1863 h 1906"/>
                  <a:gd name="T22" fmla="*/ 13 w 964"/>
                  <a:gd name="T23" fmla="*/ 1816 h 1906"/>
                  <a:gd name="T24" fmla="*/ 0 w 964"/>
                  <a:gd name="T25" fmla="*/ 1758 h 1906"/>
                  <a:gd name="T26" fmla="*/ 7 w 964"/>
                  <a:gd name="T27" fmla="*/ 105 h 1906"/>
                  <a:gd name="T28" fmla="*/ 34 w 964"/>
                  <a:gd name="T29" fmla="*/ 54 h 1906"/>
                  <a:gd name="T30" fmla="*/ 78 w 964"/>
                  <a:gd name="T31" fmla="*/ 18 h 1906"/>
                  <a:gd name="T32" fmla="*/ 134 w 964"/>
                  <a:gd name="T33" fmla="*/ 1 h 1906"/>
                  <a:gd name="T34" fmla="*/ 510 w 964"/>
                  <a:gd name="T35" fmla="*/ 1646 h 1906"/>
                  <a:gd name="T36" fmla="*/ 545 w 964"/>
                  <a:gd name="T37" fmla="*/ 1661 h 1906"/>
                  <a:gd name="T38" fmla="*/ 572 w 964"/>
                  <a:gd name="T39" fmla="*/ 1687 h 1906"/>
                  <a:gd name="T40" fmla="*/ 586 w 964"/>
                  <a:gd name="T41" fmla="*/ 1723 h 1906"/>
                  <a:gd name="T42" fmla="*/ 586 w 964"/>
                  <a:gd name="T43" fmla="*/ 1763 h 1906"/>
                  <a:gd name="T44" fmla="*/ 572 w 964"/>
                  <a:gd name="T45" fmla="*/ 1798 h 1906"/>
                  <a:gd name="T46" fmla="*/ 545 w 964"/>
                  <a:gd name="T47" fmla="*/ 1824 h 1906"/>
                  <a:gd name="T48" fmla="*/ 510 w 964"/>
                  <a:gd name="T49" fmla="*/ 1838 h 1906"/>
                  <a:gd name="T50" fmla="*/ 470 w 964"/>
                  <a:gd name="T51" fmla="*/ 1838 h 1906"/>
                  <a:gd name="T52" fmla="*/ 435 w 964"/>
                  <a:gd name="T53" fmla="*/ 1824 h 1906"/>
                  <a:gd name="T54" fmla="*/ 408 w 964"/>
                  <a:gd name="T55" fmla="*/ 1798 h 1906"/>
                  <a:gd name="T56" fmla="*/ 393 w 964"/>
                  <a:gd name="T57" fmla="*/ 1763 h 1906"/>
                  <a:gd name="T58" fmla="*/ 393 w 964"/>
                  <a:gd name="T59" fmla="*/ 1723 h 1906"/>
                  <a:gd name="T60" fmla="*/ 408 w 964"/>
                  <a:gd name="T61" fmla="*/ 1687 h 1906"/>
                  <a:gd name="T62" fmla="*/ 435 w 964"/>
                  <a:gd name="T63" fmla="*/ 1661 h 1906"/>
                  <a:gd name="T64" fmla="*/ 470 w 964"/>
                  <a:gd name="T65" fmla="*/ 1646 h 1906"/>
                  <a:gd name="T66" fmla="*/ 900 w 964"/>
                  <a:gd name="T67" fmla="*/ 317 h 1906"/>
                  <a:gd name="T68" fmla="*/ 415 w 964"/>
                  <a:gd name="T69" fmla="*/ 135 h 1906"/>
                  <a:gd name="T70" fmla="*/ 565 w 964"/>
                  <a:gd name="T71" fmla="*/ 139 h 1906"/>
                  <a:gd name="T72" fmla="*/ 574 w 964"/>
                  <a:gd name="T73" fmla="*/ 152 h 1906"/>
                  <a:gd name="T74" fmla="*/ 573 w 964"/>
                  <a:gd name="T75" fmla="*/ 166 h 1906"/>
                  <a:gd name="T76" fmla="*/ 560 w 964"/>
                  <a:gd name="T77" fmla="*/ 177 h 1906"/>
                  <a:gd name="T78" fmla="*/ 410 w 964"/>
                  <a:gd name="T79" fmla="*/ 178 h 1906"/>
                  <a:gd name="T80" fmla="*/ 397 w 964"/>
                  <a:gd name="T81" fmla="*/ 169 h 1906"/>
                  <a:gd name="T82" fmla="*/ 392 w 964"/>
                  <a:gd name="T83" fmla="*/ 157 h 1906"/>
                  <a:gd name="T84" fmla="*/ 399 w 964"/>
                  <a:gd name="T85" fmla="*/ 142 h 1906"/>
                  <a:gd name="T86" fmla="*/ 415 w 964"/>
                  <a:gd name="T87" fmla="*/ 135 h 1906"/>
                  <a:gd name="T88" fmla="*/ 334 w 964"/>
                  <a:gd name="T89" fmla="*/ 138 h 1906"/>
                  <a:gd name="T90" fmla="*/ 343 w 964"/>
                  <a:gd name="T91" fmla="*/ 151 h 1906"/>
                  <a:gd name="T92" fmla="*/ 339 w 964"/>
                  <a:gd name="T93" fmla="*/ 169 h 1906"/>
                  <a:gd name="T94" fmla="*/ 324 w 964"/>
                  <a:gd name="T95" fmla="*/ 178 h 1906"/>
                  <a:gd name="T96" fmla="*/ 308 w 964"/>
                  <a:gd name="T97" fmla="*/ 175 h 1906"/>
                  <a:gd name="T98" fmla="*/ 299 w 964"/>
                  <a:gd name="T99" fmla="*/ 160 h 1906"/>
                  <a:gd name="T100" fmla="*/ 302 w 964"/>
                  <a:gd name="T101" fmla="*/ 143 h 1906"/>
                  <a:gd name="T102" fmla="*/ 315 w 964"/>
                  <a:gd name="T103" fmla="*/ 134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4" h="1906">
                    <a:moveTo>
                      <a:pt x="149" y="0"/>
                    </a:moveTo>
                    <a:lnTo>
                      <a:pt x="816" y="0"/>
                    </a:lnTo>
                    <a:lnTo>
                      <a:pt x="830" y="1"/>
                    </a:lnTo>
                    <a:lnTo>
                      <a:pt x="845" y="3"/>
                    </a:lnTo>
                    <a:lnTo>
                      <a:pt x="860" y="7"/>
                    </a:lnTo>
                    <a:lnTo>
                      <a:pt x="873" y="11"/>
                    </a:lnTo>
                    <a:lnTo>
                      <a:pt x="886" y="18"/>
                    </a:lnTo>
                    <a:lnTo>
                      <a:pt x="898" y="26"/>
                    </a:lnTo>
                    <a:lnTo>
                      <a:pt x="909" y="34"/>
                    </a:lnTo>
                    <a:lnTo>
                      <a:pt x="921" y="44"/>
                    </a:lnTo>
                    <a:lnTo>
                      <a:pt x="930" y="54"/>
                    </a:lnTo>
                    <a:lnTo>
                      <a:pt x="939" y="65"/>
                    </a:lnTo>
                    <a:lnTo>
                      <a:pt x="947" y="78"/>
                    </a:lnTo>
                    <a:lnTo>
                      <a:pt x="952" y="90"/>
                    </a:lnTo>
                    <a:lnTo>
                      <a:pt x="958" y="105"/>
                    </a:lnTo>
                    <a:lnTo>
                      <a:pt x="961" y="118"/>
                    </a:lnTo>
                    <a:lnTo>
                      <a:pt x="964" y="133"/>
                    </a:lnTo>
                    <a:lnTo>
                      <a:pt x="964" y="149"/>
                    </a:lnTo>
                    <a:lnTo>
                      <a:pt x="964" y="1758"/>
                    </a:lnTo>
                    <a:lnTo>
                      <a:pt x="964" y="1773"/>
                    </a:lnTo>
                    <a:lnTo>
                      <a:pt x="961" y="1788"/>
                    </a:lnTo>
                    <a:lnTo>
                      <a:pt x="958" y="1802"/>
                    </a:lnTo>
                    <a:lnTo>
                      <a:pt x="952" y="1816"/>
                    </a:lnTo>
                    <a:lnTo>
                      <a:pt x="947" y="1829"/>
                    </a:lnTo>
                    <a:lnTo>
                      <a:pt x="939" y="1841"/>
                    </a:lnTo>
                    <a:lnTo>
                      <a:pt x="930" y="1852"/>
                    </a:lnTo>
                    <a:lnTo>
                      <a:pt x="921" y="1863"/>
                    </a:lnTo>
                    <a:lnTo>
                      <a:pt x="909" y="1872"/>
                    </a:lnTo>
                    <a:lnTo>
                      <a:pt x="898" y="1881"/>
                    </a:lnTo>
                    <a:lnTo>
                      <a:pt x="886" y="1889"/>
                    </a:lnTo>
                    <a:lnTo>
                      <a:pt x="873" y="1895"/>
                    </a:lnTo>
                    <a:lnTo>
                      <a:pt x="860" y="1901"/>
                    </a:lnTo>
                    <a:lnTo>
                      <a:pt x="845" y="1904"/>
                    </a:lnTo>
                    <a:lnTo>
                      <a:pt x="830" y="1906"/>
                    </a:lnTo>
                    <a:lnTo>
                      <a:pt x="816" y="1906"/>
                    </a:lnTo>
                    <a:lnTo>
                      <a:pt x="149" y="1906"/>
                    </a:lnTo>
                    <a:lnTo>
                      <a:pt x="134" y="1906"/>
                    </a:lnTo>
                    <a:lnTo>
                      <a:pt x="119" y="1904"/>
                    </a:lnTo>
                    <a:lnTo>
                      <a:pt x="105" y="1901"/>
                    </a:lnTo>
                    <a:lnTo>
                      <a:pt x="92" y="1895"/>
                    </a:lnTo>
                    <a:lnTo>
                      <a:pt x="78" y="1889"/>
                    </a:lnTo>
                    <a:lnTo>
                      <a:pt x="66" y="1881"/>
                    </a:lnTo>
                    <a:lnTo>
                      <a:pt x="55" y="1872"/>
                    </a:lnTo>
                    <a:lnTo>
                      <a:pt x="44" y="1863"/>
                    </a:lnTo>
                    <a:lnTo>
                      <a:pt x="34" y="1852"/>
                    </a:lnTo>
                    <a:lnTo>
                      <a:pt x="26" y="1841"/>
                    </a:lnTo>
                    <a:lnTo>
                      <a:pt x="18" y="1829"/>
                    </a:lnTo>
                    <a:lnTo>
                      <a:pt x="13" y="1816"/>
                    </a:lnTo>
                    <a:lnTo>
                      <a:pt x="7" y="1802"/>
                    </a:lnTo>
                    <a:lnTo>
                      <a:pt x="4" y="1788"/>
                    </a:lnTo>
                    <a:lnTo>
                      <a:pt x="2" y="1773"/>
                    </a:lnTo>
                    <a:lnTo>
                      <a:pt x="0" y="1758"/>
                    </a:lnTo>
                    <a:lnTo>
                      <a:pt x="0" y="149"/>
                    </a:lnTo>
                    <a:lnTo>
                      <a:pt x="2" y="133"/>
                    </a:lnTo>
                    <a:lnTo>
                      <a:pt x="4" y="118"/>
                    </a:lnTo>
                    <a:lnTo>
                      <a:pt x="7" y="105"/>
                    </a:lnTo>
                    <a:lnTo>
                      <a:pt x="13" y="90"/>
                    </a:lnTo>
                    <a:lnTo>
                      <a:pt x="18" y="78"/>
                    </a:lnTo>
                    <a:lnTo>
                      <a:pt x="26" y="65"/>
                    </a:lnTo>
                    <a:lnTo>
                      <a:pt x="34" y="54"/>
                    </a:lnTo>
                    <a:lnTo>
                      <a:pt x="44" y="44"/>
                    </a:lnTo>
                    <a:lnTo>
                      <a:pt x="55" y="34"/>
                    </a:lnTo>
                    <a:lnTo>
                      <a:pt x="66" y="26"/>
                    </a:lnTo>
                    <a:lnTo>
                      <a:pt x="78" y="18"/>
                    </a:lnTo>
                    <a:lnTo>
                      <a:pt x="92" y="11"/>
                    </a:lnTo>
                    <a:lnTo>
                      <a:pt x="105" y="7"/>
                    </a:lnTo>
                    <a:lnTo>
                      <a:pt x="119" y="3"/>
                    </a:lnTo>
                    <a:lnTo>
                      <a:pt x="134" y="1"/>
                    </a:lnTo>
                    <a:lnTo>
                      <a:pt x="149" y="0"/>
                    </a:lnTo>
                    <a:close/>
                    <a:moveTo>
                      <a:pt x="489" y="1644"/>
                    </a:moveTo>
                    <a:lnTo>
                      <a:pt x="500" y="1644"/>
                    </a:lnTo>
                    <a:lnTo>
                      <a:pt x="510" y="1646"/>
                    </a:lnTo>
                    <a:lnTo>
                      <a:pt x="519" y="1649"/>
                    </a:lnTo>
                    <a:lnTo>
                      <a:pt x="528" y="1652"/>
                    </a:lnTo>
                    <a:lnTo>
                      <a:pt x="537" y="1657"/>
                    </a:lnTo>
                    <a:lnTo>
                      <a:pt x="545" y="1661"/>
                    </a:lnTo>
                    <a:lnTo>
                      <a:pt x="553" y="1667"/>
                    </a:lnTo>
                    <a:lnTo>
                      <a:pt x="559" y="1674"/>
                    </a:lnTo>
                    <a:lnTo>
                      <a:pt x="566" y="1680"/>
                    </a:lnTo>
                    <a:lnTo>
                      <a:pt x="572" y="1687"/>
                    </a:lnTo>
                    <a:lnTo>
                      <a:pt x="576" y="1696"/>
                    </a:lnTo>
                    <a:lnTo>
                      <a:pt x="581" y="1704"/>
                    </a:lnTo>
                    <a:lnTo>
                      <a:pt x="584" y="1713"/>
                    </a:lnTo>
                    <a:lnTo>
                      <a:pt x="586" y="1723"/>
                    </a:lnTo>
                    <a:lnTo>
                      <a:pt x="588" y="1732"/>
                    </a:lnTo>
                    <a:lnTo>
                      <a:pt x="589" y="1742"/>
                    </a:lnTo>
                    <a:lnTo>
                      <a:pt x="588" y="1753"/>
                    </a:lnTo>
                    <a:lnTo>
                      <a:pt x="586" y="1763"/>
                    </a:lnTo>
                    <a:lnTo>
                      <a:pt x="584" y="1772"/>
                    </a:lnTo>
                    <a:lnTo>
                      <a:pt x="581" y="1781"/>
                    </a:lnTo>
                    <a:lnTo>
                      <a:pt x="576" y="1790"/>
                    </a:lnTo>
                    <a:lnTo>
                      <a:pt x="572" y="1798"/>
                    </a:lnTo>
                    <a:lnTo>
                      <a:pt x="566" y="1805"/>
                    </a:lnTo>
                    <a:lnTo>
                      <a:pt x="559" y="1813"/>
                    </a:lnTo>
                    <a:lnTo>
                      <a:pt x="553" y="1818"/>
                    </a:lnTo>
                    <a:lnTo>
                      <a:pt x="545" y="1824"/>
                    </a:lnTo>
                    <a:lnTo>
                      <a:pt x="537" y="1829"/>
                    </a:lnTo>
                    <a:lnTo>
                      <a:pt x="528" y="1833"/>
                    </a:lnTo>
                    <a:lnTo>
                      <a:pt x="519" y="1836"/>
                    </a:lnTo>
                    <a:lnTo>
                      <a:pt x="510" y="1838"/>
                    </a:lnTo>
                    <a:lnTo>
                      <a:pt x="500" y="1841"/>
                    </a:lnTo>
                    <a:lnTo>
                      <a:pt x="489" y="1841"/>
                    </a:lnTo>
                    <a:lnTo>
                      <a:pt x="480" y="1841"/>
                    </a:lnTo>
                    <a:lnTo>
                      <a:pt x="470" y="1838"/>
                    </a:lnTo>
                    <a:lnTo>
                      <a:pt x="461" y="1836"/>
                    </a:lnTo>
                    <a:lnTo>
                      <a:pt x="452" y="1833"/>
                    </a:lnTo>
                    <a:lnTo>
                      <a:pt x="443" y="1829"/>
                    </a:lnTo>
                    <a:lnTo>
                      <a:pt x="435" y="1824"/>
                    </a:lnTo>
                    <a:lnTo>
                      <a:pt x="427" y="1818"/>
                    </a:lnTo>
                    <a:lnTo>
                      <a:pt x="420" y="1813"/>
                    </a:lnTo>
                    <a:lnTo>
                      <a:pt x="414" y="1805"/>
                    </a:lnTo>
                    <a:lnTo>
                      <a:pt x="408" y="1798"/>
                    </a:lnTo>
                    <a:lnTo>
                      <a:pt x="404" y="1790"/>
                    </a:lnTo>
                    <a:lnTo>
                      <a:pt x="399" y="1781"/>
                    </a:lnTo>
                    <a:lnTo>
                      <a:pt x="396" y="1772"/>
                    </a:lnTo>
                    <a:lnTo>
                      <a:pt x="393" y="1763"/>
                    </a:lnTo>
                    <a:lnTo>
                      <a:pt x="392" y="1753"/>
                    </a:lnTo>
                    <a:lnTo>
                      <a:pt x="391" y="1742"/>
                    </a:lnTo>
                    <a:lnTo>
                      <a:pt x="392" y="1732"/>
                    </a:lnTo>
                    <a:lnTo>
                      <a:pt x="393" y="1723"/>
                    </a:lnTo>
                    <a:lnTo>
                      <a:pt x="396" y="1713"/>
                    </a:lnTo>
                    <a:lnTo>
                      <a:pt x="399" y="1704"/>
                    </a:lnTo>
                    <a:lnTo>
                      <a:pt x="404" y="1696"/>
                    </a:lnTo>
                    <a:lnTo>
                      <a:pt x="408" y="1687"/>
                    </a:lnTo>
                    <a:lnTo>
                      <a:pt x="414" y="1680"/>
                    </a:lnTo>
                    <a:lnTo>
                      <a:pt x="420" y="1674"/>
                    </a:lnTo>
                    <a:lnTo>
                      <a:pt x="427" y="1667"/>
                    </a:lnTo>
                    <a:lnTo>
                      <a:pt x="435" y="1661"/>
                    </a:lnTo>
                    <a:lnTo>
                      <a:pt x="443" y="1657"/>
                    </a:lnTo>
                    <a:lnTo>
                      <a:pt x="452" y="1652"/>
                    </a:lnTo>
                    <a:lnTo>
                      <a:pt x="461" y="1649"/>
                    </a:lnTo>
                    <a:lnTo>
                      <a:pt x="470" y="1646"/>
                    </a:lnTo>
                    <a:lnTo>
                      <a:pt x="480" y="1644"/>
                    </a:lnTo>
                    <a:lnTo>
                      <a:pt x="489" y="1644"/>
                    </a:lnTo>
                    <a:close/>
                    <a:moveTo>
                      <a:pt x="66" y="317"/>
                    </a:moveTo>
                    <a:lnTo>
                      <a:pt x="900" y="317"/>
                    </a:lnTo>
                    <a:lnTo>
                      <a:pt x="900" y="1566"/>
                    </a:lnTo>
                    <a:lnTo>
                      <a:pt x="66" y="1566"/>
                    </a:lnTo>
                    <a:lnTo>
                      <a:pt x="66" y="317"/>
                    </a:lnTo>
                    <a:close/>
                    <a:moveTo>
                      <a:pt x="415" y="135"/>
                    </a:moveTo>
                    <a:lnTo>
                      <a:pt x="553" y="135"/>
                    </a:lnTo>
                    <a:lnTo>
                      <a:pt x="557" y="135"/>
                    </a:lnTo>
                    <a:lnTo>
                      <a:pt x="560" y="138"/>
                    </a:lnTo>
                    <a:lnTo>
                      <a:pt x="565" y="139"/>
                    </a:lnTo>
                    <a:lnTo>
                      <a:pt x="567" y="142"/>
                    </a:lnTo>
                    <a:lnTo>
                      <a:pt x="571" y="146"/>
                    </a:lnTo>
                    <a:lnTo>
                      <a:pt x="573" y="149"/>
                    </a:lnTo>
                    <a:lnTo>
                      <a:pt x="574" y="152"/>
                    </a:lnTo>
                    <a:lnTo>
                      <a:pt x="574" y="157"/>
                    </a:lnTo>
                    <a:lnTo>
                      <a:pt x="574" y="157"/>
                    </a:lnTo>
                    <a:lnTo>
                      <a:pt x="574" y="161"/>
                    </a:lnTo>
                    <a:lnTo>
                      <a:pt x="573" y="166"/>
                    </a:lnTo>
                    <a:lnTo>
                      <a:pt x="571" y="169"/>
                    </a:lnTo>
                    <a:lnTo>
                      <a:pt x="567" y="173"/>
                    </a:lnTo>
                    <a:lnTo>
                      <a:pt x="565" y="175"/>
                    </a:lnTo>
                    <a:lnTo>
                      <a:pt x="560" y="177"/>
                    </a:lnTo>
                    <a:lnTo>
                      <a:pt x="557" y="178"/>
                    </a:lnTo>
                    <a:lnTo>
                      <a:pt x="553" y="178"/>
                    </a:lnTo>
                    <a:lnTo>
                      <a:pt x="415" y="178"/>
                    </a:lnTo>
                    <a:lnTo>
                      <a:pt x="410" y="178"/>
                    </a:lnTo>
                    <a:lnTo>
                      <a:pt x="406" y="177"/>
                    </a:lnTo>
                    <a:lnTo>
                      <a:pt x="402" y="175"/>
                    </a:lnTo>
                    <a:lnTo>
                      <a:pt x="399" y="173"/>
                    </a:lnTo>
                    <a:lnTo>
                      <a:pt x="397" y="169"/>
                    </a:lnTo>
                    <a:lnTo>
                      <a:pt x="394" y="166"/>
                    </a:lnTo>
                    <a:lnTo>
                      <a:pt x="393" y="161"/>
                    </a:lnTo>
                    <a:lnTo>
                      <a:pt x="392" y="157"/>
                    </a:lnTo>
                    <a:lnTo>
                      <a:pt x="392" y="157"/>
                    </a:lnTo>
                    <a:lnTo>
                      <a:pt x="393" y="152"/>
                    </a:lnTo>
                    <a:lnTo>
                      <a:pt x="394" y="149"/>
                    </a:lnTo>
                    <a:lnTo>
                      <a:pt x="397" y="146"/>
                    </a:lnTo>
                    <a:lnTo>
                      <a:pt x="399" y="142"/>
                    </a:lnTo>
                    <a:lnTo>
                      <a:pt x="402" y="139"/>
                    </a:lnTo>
                    <a:lnTo>
                      <a:pt x="406" y="138"/>
                    </a:lnTo>
                    <a:lnTo>
                      <a:pt x="410" y="135"/>
                    </a:lnTo>
                    <a:lnTo>
                      <a:pt x="415" y="135"/>
                    </a:lnTo>
                    <a:close/>
                    <a:moveTo>
                      <a:pt x="320" y="133"/>
                    </a:moveTo>
                    <a:lnTo>
                      <a:pt x="324" y="134"/>
                    </a:lnTo>
                    <a:lnTo>
                      <a:pt x="329" y="135"/>
                    </a:lnTo>
                    <a:lnTo>
                      <a:pt x="334" y="138"/>
                    </a:lnTo>
                    <a:lnTo>
                      <a:pt x="337" y="140"/>
                    </a:lnTo>
                    <a:lnTo>
                      <a:pt x="339" y="143"/>
                    </a:lnTo>
                    <a:lnTo>
                      <a:pt x="341" y="147"/>
                    </a:lnTo>
                    <a:lnTo>
                      <a:pt x="343" y="151"/>
                    </a:lnTo>
                    <a:lnTo>
                      <a:pt x="343" y="156"/>
                    </a:lnTo>
                    <a:lnTo>
                      <a:pt x="343" y="160"/>
                    </a:lnTo>
                    <a:lnTo>
                      <a:pt x="341" y="165"/>
                    </a:lnTo>
                    <a:lnTo>
                      <a:pt x="339" y="169"/>
                    </a:lnTo>
                    <a:lnTo>
                      <a:pt x="337" y="172"/>
                    </a:lnTo>
                    <a:lnTo>
                      <a:pt x="334" y="175"/>
                    </a:lnTo>
                    <a:lnTo>
                      <a:pt x="329" y="177"/>
                    </a:lnTo>
                    <a:lnTo>
                      <a:pt x="324" y="178"/>
                    </a:lnTo>
                    <a:lnTo>
                      <a:pt x="320" y="178"/>
                    </a:lnTo>
                    <a:lnTo>
                      <a:pt x="315" y="178"/>
                    </a:lnTo>
                    <a:lnTo>
                      <a:pt x="311" y="177"/>
                    </a:lnTo>
                    <a:lnTo>
                      <a:pt x="308" y="175"/>
                    </a:lnTo>
                    <a:lnTo>
                      <a:pt x="304" y="172"/>
                    </a:lnTo>
                    <a:lnTo>
                      <a:pt x="302" y="169"/>
                    </a:lnTo>
                    <a:lnTo>
                      <a:pt x="300" y="165"/>
                    </a:lnTo>
                    <a:lnTo>
                      <a:pt x="299" y="160"/>
                    </a:lnTo>
                    <a:lnTo>
                      <a:pt x="297" y="156"/>
                    </a:lnTo>
                    <a:lnTo>
                      <a:pt x="299" y="151"/>
                    </a:lnTo>
                    <a:lnTo>
                      <a:pt x="300" y="147"/>
                    </a:lnTo>
                    <a:lnTo>
                      <a:pt x="302" y="143"/>
                    </a:lnTo>
                    <a:lnTo>
                      <a:pt x="304" y="140"/>
                    </a:lnTo>
                    <a:lnTo>
                      <a:pt x="308" y="138"/>
                    </a:lnTo>
                    <a:lnTo>
                      <a:pt x="311" y="135"/>
                    </a:lnTo>
                    <a:lnTo>
                      <a:pt x="315" y="134"/>
                    </a:lnTo>
                    <a:lnTo>
                      <a:pt x="32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sp>
            <p:nvSpPr>
              <p:cNvPr id="21" name="Freeform 215"/>
              <p:cNvSpPr>
                <a:spLocks noEditPoints="1"/>
              </p:cNvSpPr>
              <p:nvPr/>
            </p:nvSpPr>
            <p:spPr bwMode="auto">
              <a:xfrm>
                <a:off x="1191263" y="4664315"/>
                <a:ext cx="115978" cy="108243"/>
              </a:xfrm>
              <a:custGeom>
                <a:avLst/>
                <a:gdLst>
                  <a:gd name="T0" fmla="*/ 12 w 71"/>
                  <a:gd name="T1" fmla="*/ 0 h 71"/>
                  <a:gd name="T2" fmla="*/ 60 w 71"/>
                  <a:gd name="T3" fmla="*/ 0 h 71"/>
                  <a:gd name="T4" fmla="*/ 65 w 71"/>
                  <a:gd name="T5" fmla="*/ 2 h 71"/>
                  <a:gd name="T6" fmla="*/ 68 w 71"/>
                  <a:gd name="T7" fmla="*/ 4 h 71"/>
                  <a:gd name="T8" fmla="*/ 70 w 71"/>
                  <a:gd name="T9" fmla="*/ 7 h 71"/>
                  <a:gd name="T10" fmla="*/ 71 w 71"/>
                  <a:gd name="T11" fmla="*/ 12 h 71"/>
                  <a:gd name="T12" fmla="*/ 71 w 71"/>
                  <a:gd name="T13" fmla="*/ 60 h 71"/>
                  <a:gd name="T14" fmla="*/ 70 w 71"/>
                  <a:gd name="T15" fmla="*/ 64 h 71"/>
                  <a:gd name="T16" fmla="*/ 68 w 71"/>
                  <a:gd name="T17" fmla="*/ 67 h 71"/>
                  <a:gd name="T18" fmla="*/ 65 w 71"/>
                  <a:gd name="T19" fmla="*/ 69 h 71"/>
                  <a:gd name="T20" fmla="*/ 60 w 71"/>
                  <a:gd name="T21" fmla="*/ 71 h 71"/>
                  <a:gd name="T22" fmla="*/ 12 w 71"/>
                  <a:gd name="T23" fmla="*/ 71 h 71"/>
                  <a:gd name="T24" fmla="*/ 7 w 71"/>
                  <a:gd name="T25" fmla="*/ 69 h 71"/>
                  <a:gd name="T26" fmla="*/ 4 w 71"/>
                  <a:gd name="T27" fmla="*/ 67 h 71"/>
                  <a:gd name="T28" fmla="*/ 1 w 71"/>
                  <a:gd name="T29" fmla="*/ 64 h 71"/>
                  <a:gd name="T30" fmla="*/ 0 w 71"/>
                  <a:gd name="T31" fmla="*/ 60 h 71"/>
                  <a:gd name="T32" fmla="*/ 0 w 71"/>
                  <a:gd name="T33" fmla="*/ 12 h 71"/>
                  <a:gd name="T34" fmla="*/ 1 w 71"/>
                  <a:gd name="T35" fmla="*/ 7 h 71"/>
                  <a:gd name="T36" fmla="*/ 4 w 71"/>
                  <a:gd name="T37" fmla="*/ 4 h 71"/>
                  <a:gd name="T38" fmla="*/ 7 w 71"/>
                  <a:gd name="T39" fmla="*/ 2 h 71"/>
                  <a:gd name="T40" fmla="*/ 12 w 71"/>
                  <a:gd name="T41" fmla="*/ 0 h 71"/>
                  <a:gd name="T42" fmla="*/ 17 w 71"/>
                  <a:gd name="T43" fmla="*/ 8 h 71"/>
                  <a:gd name="T44" fmla="*/ 55 w 71"/>
                  <a:gd name="T45" fmla="*/ 8 h 71"/>
                  <a:gd name="T46" fmla="*/ 58 w 71"/>
                  <a:gd name="T47" fmla="*/ 10 h 71"/>
                  <a:gd name="T48" fmla="*/ 60 w 71"/>
                  <a:gd name="T49" fmla="*/ 11 h 71"/>
                  <a:gd name="T50" fmla="*/ 62 w 71"/>
                  <a:gd name="T51" fmla="*/ 14 h 71"/>
                  <a:gd name="T52" fmla="*/ 62 w 71"/>
                  <a:gd name="T53" fmla="*/ 17 h 71"/>
                  <a:gd name="T54" fmla="*/ 62 w 71"/>
                  <a:gd name="T55" fmla="*/ 55 h 71"/>
                  <a:gd name="T56" fmla="*/ 62 w 71"/>
                  <a:gd name="T57" fmla="*/ 57 h 71"/>
                  <a:gd name="T58" fmla="*/ 60 w 71"/>
                  <a:gd name="T59" fmla="*/ 60 h 71"/>
                  <a:gd name="T60" fmla="*/ 58 w 71"/>
                  <a:gd name="T61" fmla="*/ 61 h 71"/>
                  <a:gd name="T62" fmla="*/ 55 w 71"/>
                  <a:gd name="T63" fmla="*/ 63 h 71"/>
                  <a:gd name="T64" fmla="*/ 17 w 71"/>
                  <a:gd name="T65" fmla="*/ 63 h 71"/>
                  <a:gd name="T66" fmla="*/ 14 w 71"/>
                  <a:gd name="T67" fmla="*/ 61 h 71"/>
                  <a:gd name="T68" fmla="*/ 12 w 71"/>
                  <a:gd name="T69" fmla="*/ 60 h 71"/>
                  <a:gd name="T70" fmla="*/ 9 w 71"/>
                  <a:gd name="T71" fmla="*/ 57 h 71"/>
                  <a:gd name="T72" fmla="*/ 9 w 71"/>
                  <a:gd name="T73" fmla="*/ 55 h 71"/>
                  <a:gd name="T74" fmla="*/ 9 w 71"/>
                  <a:gd name="T75" fmla="*/ 17 h 71"/>
                  <a:gd name="T76" fmla="*/ 9 w 71"/>
                  <a:gd name="T77" fmla="*/ 14 h 71"/>
                  <a:gd name="T78" fmla="*/ 12 w 71"/>
                  <a:gd name="T79" fmla="*/ 11 h 71"/>
                  <a:gd name="T80" fmla="*/ 14 w 71"/>
                  <a:gd name="T81" fmla="*/ 10 h 71"/>
                  <a:gd name="T82" fmla="*/ 17 w 71"/>
                  <a:gd name="T83"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71">
                    <a:moveTo>
                      <a:pt x="12" y="0"/>
                    </a:moveTo>
                    <a:lnTo>
                      <a:pt x="60" y="0"/>
                    </a:lnTo>
                    <a:lnTo>
                      <a:pt x="65" y="2"/>
                    </a:lnTo>
                    <a:lnTo>
                      <a:pt x="68" y="4"/>
                    </a:lnTo>
                    <a:lnTo>
                      <a:pt x="70" y="7"/>
                    </a:lnTo>
                    <a:lnTo>
                      <a:pt x="71" y="12"/>
                    </a:lnTo>
                    <a:lnTo>
                      <a:pt x="71" y="60"/>
                    </a:lnTo>
                    <a:lnTo>
                      <a:pt x="70" y="64"/>
                    </a:lnTo>
                    <a:lnTo>
                      <a:pt x="68" y="67"/>
                    </a:lnTo>
                    <a:lnTo>
                      <a:pt x="65" y="69"/>
                    </a:lnTo>
                    <a:lnTo>
                      <a:pt x="60" y="71"/>
                    </a:lnTo>
                    <a:lnTo>
                      <a:pt x="12" y="71"/>
                    </a:lnTo>
                    <a:lnTo>
                      <a:pt x="7" y="69"/>
                    </a:lnTo>
                    <a:lnTo>
                      <a:pt x="4" y="67"/>
                    </a:lnTo>
                    <a:lnTo>
                      <a:pt x="1" y="64"/>
                    </a:lnTo>
                    <a:lnTo>
                      <a:pt x="0" y="60"/>
                    </a:lnTo>
                    <a:lnTo>
                      <a:pt x="0" y="12"/>
                    </a:lnTo>
                    <a:lnTo>
                      <a:pt x="1" y="7"/>
                    </a:lnTo>
                    <a:lnTo>
                      <a:pt x="4" y="4"/>
                    </a:lnTo>
                    <a:lnTo>
                      <a:pt x="7" y="2"/>
                    </a:lnTo>
                    <a:lnTo>
                      <a:pt x="12" y="0"/>
                    </a:lnTo>
                    <a:close/>
                    <a:moveTo>
                      <a:pt x="17" y="8"/>
                    </a:moveTo>
                    <a:lnTo>
                      <a:pt x="55" y="8"/>
                    </a:lnTo>
                    <a:lnTo>
                      <a:pt x="58" y="10"/>
                    </a:lnTo>
                    <a:lnTo>
                      <a:pt x="60" y="11"/>
                    </a:lnTo>
                    <a:lnTo>
                      <a:pt x="62" y="14"/>
                    </a:lnTo>
                    <a:lnTo>
                      <a:pt x="62" y="17"/>
                    </a:lnTo>
                    <a:lnTo>
                      <a:pt x="62" y="55"/>
                    </a:lnTo>
                    <a:lnTo>
                      <a:pt x="62" y="57"/>
                    </a:lnTo>
                    <a:lnTo>
                      <a:pt x="60" y="60"/>
                    </a:lnTo>
                    <a:lnTo>
                      <a:pt x="58" y="61"/>
                    </a:lnTo>
                    <a:lnTo>
                      <a:pt x="55" y="63"/>
                    </a:lnTo>
                    <a:lnTo>
                      <a:pt x="17" y="63"/>
                    </a:lnTo>
                    <a:lnTo>
                      <a:pt x="14" y="61"/>
                    </a:lnTo>
                    <a:lnTo>
                      <a:pt x="12" y="60"/>
                    </a:lnTo>
                    <a:lnTo>
                      <a:pt x="9" y="57"/>
                    </a:lnTo>
                    <a:lnTo>
                      <a:pt x="9" y="55"/>
                    </a:lnTo>
                    <a:lnTo>
                      <a:pt x="9" y="17"/>
                    </a:lnTo>
                    <a:lnTo>
                      <a:pt x="9" y="14"/>
                    </a:lnTo>
                    <a:lnTo>
                      <a:pt x="12" y="11"/>
                    </a:lnTo>
                    <a:lnTo>
                      <a:pt x="14" y="10"/>
                    </a:lnTo>
                    <a:lnTo>
                      <a:pt x="1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latin typeface="Calibri" charset="0"/>
                  <a:ea typeface="ＭＳ Ｐゴシック" charset="0"/>
                  <a:cs typeface="ＭＳ Ｐゴシック" charset="0"/>
                </a:endParaRPr>
              </a:p>
            </p:txBody>
          </p:sp>
        </p:grpSp>
        <p:sp>
          <p:nvSpPr>
            <p:cNvPr id="19" name="TextBox 18"/>
            <p:cNvSpPr txBox="1"/>
            <p:nvPr>
              <p:custDataLst>
                <p:tags r:id="rId5"/>
              </p:custDataLst>
            </p:nvPr>
          </p:nvSpPr>
          <p:spPr>
            <a:xfrm>
              <a:off x="4611520" y="5178212"/>
              <a:ext cx="1673299" cy="205474"/>
            </a:xfrm>
            <a:prstGeom prst="rect">
              <a:avLst/>
            </a:prstGeom>
            <a:noFill/>
          </p:spPr>
          <p:txBody>
            <a:bodyPr lIns="0" tIns="0" rIns="0" bIns="0" anchor="b">
              <a:spAutoFit/>
            </a:bodyPr>
            <a:lstStyle/>
            <a:p>
              <a:pPr>
                <a:defRPr/>
              </a:pPr>
              <a:r>
                <a:rPr lang="en-US" sz="1000" b="1" dirty="0">
                  <a:solidFill>
                    <a:schemeClr val="tx1">
                      <a:lumMod val="75000"/>
                      <a:lumOff val="25000"/>
                    </a:schemeClr>
                  </a:solidFill>
                  <a:latin typeface="Calibri" charset="0"/>
                  <a:ea typeface="ＭＳ Ｐゴシック" charset="0"/>
                  <a:cs typeface="ＭＳ Ｐゴシック" charset="0"/>
                </a:rPr>
                <a:t>86 512 62391918 </a:t>
              </a:r>
            </a:p>
          </p:txBody>
        </p:sp>
      </p:grpSp>
      <p:pic>
        <p:nvPicPr>
          <p:cNvPr id="1026" name="Picture 2" descr="C:\Documents and Settings\Administrator\桌面\新建文件夹\地图.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71600" y="303498"/>
            <a:ext cx="6840760" cy="31506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E:\VI--Raycan\Slogan\Slogan-09.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940152" y="4726072"/>
            <a:ext cx="2880320" cy="275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8453777"/>
      </p:ext>
    </p:extLst>
  </p:cSld>
  <p:clrMap bg1="lt1" tx1="dk1" bg2="lt2" tx2="dk2" accent1="accent1" accent2="accent2" accent3="accent3" accent4="accent4" accent5="accent5" accent6="accent6" hlink="hlink" folHlink="folHlink"/>
  <p:sldLayoutIdLst>
    <p:sldLayoutId id="2147483842" r:id="rId1"/>
    <p:sldLayoutId id="2147483846" r:id="rId2"/>
  </p:sldLayoutIdLst>
  <p:timing>
    <p:tnLst>
      <p:par>
        <p:cTn xmlns:p14="http://schemas.microsoft.com/office/powerpoint/2010/mai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jpeg"/><Relationship Id="rId5" Type="http://schemas.openxmlformats.org/officeDocument/2006/relationships/image" Target="../media/image9.png"/><Relationship Id="rId1" Type="http://schemas.openxmlformats.org/officeDocument/2006/relationships/slideLayout" Target="../slideLayouts/slideLayout14.xml"/><Relationship Id="rId2"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jpeg"/><Relationship Id="rId1" Type="http://schemas.openxmlformats.org/officeDocument/2006/relationships/slideLayout" Target="../slideLayouts/slideLayout3.xml"/><Relationship Id="rId2" Type="http://schemas.openxmlformats.org/officeDocument/2006/relationships/image" Target="../media/image10.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jpe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jpeg"/><Relationship Id="rId8" Type="http://schemas.openxmlformats.org/officeDocument/2006/relationships/image" Target="../media/image20.jpeg"/><Relationship Id="rId9" Type="http://schemas.openxmlformats.org/officeDocument/2006/relationships/image" Target="../media/image21.gif"/><Relationship Id="rId1" Type="http://schemas.openxmlformats.org/officeDocument/2006/relationships/slideLayout" Target="../slideLayouts/slideLayout14.xml"/><Relationship Id="rId2" Type="http://schemas.openxmlformats.org/officeDocument/2006/relationships/image" Target="../media/image1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22.png"/><Relationship Id="rId3" Type="http://schemas.openxmlformats.org/officeDocument/2006/relationships/image" Target="../media/image23.gi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jpeg"/><Relationship Id="rId3" Type="http://schemas.openxmlformats.org/officeDocument/2006/relationships/image" Target="../media/image2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jpg"/><Relationship Id="rId3" Type="http://schemas.openxmlformats.org/officeDocument/2006/relationships/image" Target="../media/image27.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jpeg"/><Relationship Id="rId1" Type="http://schemas.openxmlformats.org/officeDocument/2006/relationships/slideLayout" Target="../slideLayouts/slideLayout16.xml"/><Relationship Id="rId2"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7504" y="2949792"/>
            <a:ext cx="8856984" cy="990110"/>
          </a:xfrm>
        </p:spPr>
        <p:txBody>
          <a:bodyPr/>
          <a:lstStyle/>
          <a:p>
            <a:r>
              <a:rPr lang="en-US" sz="2400" dirty="0" smtClean="0">
                <a:solidFill>
                  <a:srgbClr val="FF0000"/>
                </a:solidFill>
              </a:rPr>
              <a:t>FUNDAMENTAL STUDY</a:t>
            </a:r>
            <a:r>
              <a:rPr lang="en-US" sz="2400" dirty="0" smtClean="0"/>
              <a:t/>
            </a:r>
            <a:br>
              <a:rPr lang="en-US" sz="2400" dirty="0" smtClean="0"/>
            </a:br>
            <a:endParaRPr lang="en-US" sz="2400" dirty="0">
              <a:solidFill>
                <a:srgbClr val="FF0000"/>
              </a:solidFill>
            </a:endParaRPr>
          </a:p>
        </p:txBody>
      </p:sp>
    </p:spTree>
    <p:extLst>
      <p:ext uri="{BB962C8B-B14F-4D97-AF65-F5344CB8AC3E}">
        <p14:creationId xmlns:p14="http://schemas.microsoft.com/office/powerpoint/2010/main" val="3180991414"/>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2"/>
          <p:cNvSpPr>
            <a:spLocks noGrp="1" noChangeArrowheads="1"/>
          </p:cNvSpPr>
          <p:nvPr>
            <p:ph type="title"/>
          </p:nvPr>
        </p:nvSpPr>
        <p:spPr>
          <a:xfrm>
            <a:off x="106364" y="77391"/>
            <a:ext cx="8904287" cy="408384"/>
          </a:xfrm>
        </p:spPr>
        <p:txBody>
          <a:bodyPr/>
          <a:lstStyle/>
          <a:p>
            <a:pPr eaLnBrk="1" hangingPunct="1"/>
            <a:r>
              <a:rPr lang="en-US" sz="2400" dirty="0" smtClean="0">
                <a:latin typeface="Arial" charset="0"/>
              </a:rPr>
              <a:t>Fundamental High </a:t>
            </a:r>
            <a:r>
              <a:rPr lang="en-US" sz="2400" dirty="0" smtClean="0">
                <a:latin typeface="Arial" charset="0"/>
              </a:rPr>
              <a:t>Energy Physics </a:t>
            </a:r>
            <a:endParaRPr lang="en-US" sz="2400" dirty="0">
              <a:latin typeface="Arial" charset="0"/>
            </a:endParaRPr>
          </a:p>
        </p:txBody>
      </p:sp>
      <p:sp>
        <p:nvSpPr>
          <p:cNvPr id="13314" name="Rectangle 3"/>
          <p:cNvSpPr txBox="1">
            <a:spLocks noChangeArrowheads="1"/>
          </p:cNvSpPr>
          <p:nvPr/>
        </p:nvSpPr>
        <p:spPr bwMode="auto">
          <a:xfrm>
            <a:off x="395536" y="555526"/>
            <a:ext cx="8348663"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eaLnBrk="1" hangingPunct="1">
              <a:lnSpc>
                <a:spcPct val="80000"/>
              </a:lnSpc>
              <a:spcAft>
                <a:spcPct val="50000"/>
              </a:spcAft>
              <a:buClr>
                <a:srgbClr val="F28E00"/>
              </a:buClr>
              <a:buFont typeface="Arial Black" charset="0"/>
              <a:buNone/>
            </a:pPr>
            <a:r>
              <a:rPr lang="en-US" dirty="0" smtClean="0">
                <a:solidFill>
                  <a:srgbClr val="0000FF"/>
                </a:solidFill>
              </a:rPr>
              <a:t>International </a:t>
            </a:r>
            <a:r>
              <a:rPr lang="en-US" dirty="0">
                <a:solidFill>
                  <a:srgbClr val="0000FF"/>
                </a:solidFill>
              </a:rPr>
              <a:t>Experiment “CDF”, National Fermi Accelerator Laboratory, </a:t>
            </a:r>
            <a:r>
              <a:rPr lang="en-US" dirty="0" smtClean="0">
                <a:solidFill>
                  <a:srgbClr val="0000FF"/>
                </a:solidFill>
              </a:rPr>
              <a:t>IL, Chicago</a:t>
            </a:r>
            <a:endParaRPr lang="en-US" dirty="0">
              <a:solidFill>
                <a:srgbClr val="0000FF"/>
              </a:solidFill>
            </a:endParaRPr>
          </a:p>
        </p:txBody>
      </p:sp>
      <p:pic>
        <p:nvPicPr>
          <p:cNvPr id="13315" name="Picture 3" descr="07-0337-23D.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5536" y="1059581"/>
            <a:ext cx="3953762" cy="280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6" name="Picture 4" descr="cdf92-0110.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44008" y="1059582"/>
            <a:ext cx="3722885" cy="277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7"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660232" y="2427734"/>
            <a:ext cx="1679211" cy="1356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8" name="Rectangle 3"/>
          <p:cNvSpPr txBox="1">
            <a:spLocks noChangeArrowheads="1"/>
          </p:cNvSpPr>
          <p:nvPr/>
        </p:nvSpPr>
        <p:spPr bwMode="auto">
          <a:xfrm>
            <a:off x="323528" y="4155926"/>
            <a:ext cx="8250237" cy="648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eaLnBrk="1" hangingPunct="1">
              <a:buClr>
                <a:srgbClr val="F28E00"/>
              </a:buClr>
              <a:buFont typeface="Arial Black" charset="0"/>
              <a:buNone/>
            </a:pPr>
            <a:r>
              <a:rPr lang="en-US" sz="1800" dirty="0"/>
              <a:t> </a:t>
            </a:r>
            <a:r>
              <a:rPr lang="en-US" sz="1800" dirty="0" smtClean="0"/>
              <a:t>Since 2000 Study of CP-Violation Processes, Mathematical modeling and analysis </a:t>
            </a:r>
            <a:r>
              <a:rPr lang="en-US" sz="1800" dirty="0"/>
              <a:t>of </a:t>
            </a:r>
            <a:r>
              <a:rPr lang="en-US" sz="1800" dirty="0" smtClean="0"/>
              <a:t>experimental data</a:t>
            </a:r>
            <a:r>
              <a:rPr lang="mr-IN" sz="1800" dirty="0" smtClean="0"/>
              <a:t>…</a:t>
            </a:r>
            <a:r>
              <a:rPr lang="en-US" sz="1800" dirty="0" smtClean="0"/>
              <a:t> </a:t>
            </a:r>
            <a:endParaRPr lang="en-US" sz="1800" dirty="0"/>
          </a:p>
        </p:txBody>
      </p:sp>
    </p:spTree>
    <p:extLst>
      <p:ext uri="{BB962C8B-B14F-4D97-AF65-F5344CB8AC3E}">
        <p14:creationId xmlns:p14="http://schemas.microsoft.com/office/powerpoint/2010/main" val="3040114355"/>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9" descr="layout 06-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544" y="1059582"/>
            <a:ext cx="5393138" cy="176913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OT0099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640" y="2643758"/>
            <a:ext cx="1656184" cy="16014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descr="ILC.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91880" y="2643758"/>
            <a:ext cx="1800200" cy="1560513"/>
          </a:xfrm>
          <a:prstGeom prst="rect">
            <a:avLst/>
          </a:prstGeom>
        </p:spPr>
      </p:pic>
      <p:sp>
        <p:nvSpPr>
          <p:cNvPr id="7" name="Rectangle 3"/>
          <p:cNvSpPr txBox="1">
            <a:spLocks noChangeArrowheads="1"/>
          </p:cNvSpPr>
          <p:nvPr/>
        </p:nvSpPr>
        <p:spPr bwMode="auto">
          <a:xfrm>
            <a:off x="323528" y="699542"/>
            <a:ext cx="7056784"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nSpc>
                <a:spcPts val="1600"/>
              </a:lnSpc>
              <a:buNone/>
            </a:pPr>
            <a:r>
              <a:rPr lang="en-US" sz="1600" dirty="0" smtClean="0">
                <a:solidFill>
                  <a:srgbClr val="C00000"/>
                </a:solidFill>
                <a:cs typeface="Arial" pitchFamily="34" charset="0"/>
              </a:rPr>
              <a:t>Since 2000 International Linear Collider, future World </a:t>
            </a:r>
            <a:r>
              <a:rPr lang="en-US" sz="1600" dirty="0">
                <a:solidFill>
                  <a:srgbClr val="C00000"/>
                </a:solidFill>
                <a:cs typeface="Arial" pitchFamily="34" charset="0"/>
              </a:rPr>
              <a:t>W</a:t>
            </a:r>
            <a:r>
              <a:rPr lang="en-US" sz="1600" dirty="0" smtClean="0">
                <a:solidFill>
                  <a:srgbClr val="C00000"/>
                </a:solidFill>
                <a:cs typeface="Arial" pitchFamily="34" charset="0"/>
              </a:rPr>
              <a:t>ide Experiment </a:t>
            </a:r>
            <a:endParaRPr lang="en-US" dirty="0" smtClean="0">
              <a:solidFill>
                <a:srgbClr val="C00000"/>
              </a:solidFill>
            </a:endParaRPr>
          </a:p>
        </p:txBody>
      </p:sp>
      <p:sp>
        <p:nvSpPr>
          <p:cNvPr id="8" name="Rectangle 2"/>
          <p:cNvSpPr txBox="1">
            <a:spLocks noChangeArrowheads="1"/>
          </p:cNvSpPr>
          <p:nvPr/>
        </p:nvSpPr>
        <p:spPr>
          <a:xfrm>
            <a:off x="323528" y="195486"/>
            <a:ext cx="6023048" cy="544512"/>
          </a:xfrm>
          <a:prstGeom prst="rect">
            <a:avLst/>
          </a:prstGeom>
        </p:spPr>
        <p:txBody>
          <a:bodyPr/>
          <a:lst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a:lstStyle>
          <a:p>
            <a:r>
              <a:rPr lang="en-US" sz="2400" dirty="0" smtClean="0">
                <a:solidFill>
                  <a:schemeClr val="accent1"/>
                </a:solidFill>
              </a:rPr>
              <a:t>Fundamental High </a:t>
            </a:r>
            <a:r>
              <a:rPr lang="en-US" sz="2400" dirty="0" smtClean="0">
                <a:solidFill>
                  <a:schemeClr val="accent1"/>
                </a:solidFill>
              </a:rPr>
              <a:t>Energy Physics (Future)</a:t>
            </a:r>
            <a:endParaRPr lang="en-US" sz="2400" dirty="0">
              <a:solidFill>
                <a:schemeClr val="accent1"/>
              </a:solidFill>
            </a:endParaRPr>
          </a:p>
        </p:txBody>
      </p:sp>
      <p:pic>
        <p:nvPicPr>
          <p:cNvPr id="9" name="Picture 9" descr="201143.jpg"/>
          <p:cNvPicPr>
            <a:picLocks noChangeAspect="1"/>
          </p:cNvPicPr>
          <p:nvPr/>
        </p:nvPicPr>
        <p:blipFill>
          <a:blip r:embed="rId5">
            <a:extLst>
              <a:ext uri="{28A0092B-C50C-407E-A947-70E740481C1C}">
                <a14:useLocalDpi xmlns:a14="http://schemas.microsoft.com/office/drawing/2010/main" val="0"/>
              </a:ext>
            </a:extLst>
          </a:blip>
          <a:srcRect l="21794" r="25957"/>
          <a:stretch>
            <a:fillRect/>
          </a:stretch>
        </p:blipFill>
        <p:spPr bwMode="auto">
          <a:xfrm>
            <a:off x="6300192" y="1059582"/>
            <a:ext cx="2520280" cy="3410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259632" y="4443958"/>
            <a:ext cx="4790719" cy="369332"/>
          </a:xfrm>
          <a:prstGeom prst="rect">
            <a:avLst/>
          </a:prstGeom>
          <a:noFill/>
        </p:spPr>
        <p:txBody>
          <a:bodyPr wrap="none" rtlCol="0">
            <a:spAutoFit/>
          </a:bodyPr>
          <a:lstStyle/>
          <a:p>
            <a:r>
              <a:rPr lang="en-US" dirty="0" smtClean="0"/>
              <a:t>Higgs Boson Investigation, Extra Dimensions  </a:t>
            </a:r>
            <a:endParaRPr lang="en-US" dirty="0"/>
          </a:p>
        </p:txBody>
      </p:sp>
    </p:spTree>
    <p:extLst>
      <p:ext uri="{BB962C8B-B14F-4D97-AF65-F5344CB8AC3E}">
        <p14:creationId xmlns:p14="http://schemas.microsoft.com/office/powerpoint/2010/main" val="4211411666"/>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323528" y="3363838"/>
            <a:ext cx="8496944" cy="864096"/>
          </a:xfrm>
          <a:prstGeom prst="rect">
            <a:avLst/>
          </a:prstGeom>
        </p:spPr>
        <p:txBody>
          <a:bodyPr/>
          <a:lstStyle>
            <a:defPPr>
              <a:defRPr lang="en-US"/>
            </a:defPPr>
            <a:lvl1pPr eaLnBrk="1" hangingPunct="1">
              <a:defRPr sz="2800" b="0">
                <a:solidFill>
                  <a:schemeClr val="accent1"/>
                </a:solidFill>
                <a:latin typeface="微软雅黑" pitchFamily="34" charset="-122"/>
                <a:ea typeface="微软雅黑" pitchFamily="34" charset="-122"/>
                <a:cs typeface="Arial"/>
              </a:defRPr>
            </a:lvl1pPr>
            <a:lvl2pPr eaLnBrk="1" hangingPunct="1">
              <a:defRPr sz="4400"/>
            </a:lvl2pPr>
            <a:lvl3pPr eaLnBrk="1" hangingPunct="1">
              <a:defRPr sz="4400"/>
            </a:lvl3pPr>
            <a:lvl4pPr eaLnBrk="1" hangingPunct="1">
              <a:defRPr sz="4400"/>
            </a:lvl4pPr>
            <a:lvl5pPr eaLnBrk="1" hangingPunct="1">
              <a:defRPr sz="4400"/>
            </a:lvl5pPr>
            <a:lvl6pPr marL="457200" algn="ctr" fontAlgn="base">
              <a:spcBef>
                <a:spcPct val="0"/>
              </a:spcBef>
              <a:spcAft>
                <a:spcPct val="0"/>
              </a:spcAft>
              <a:defRPr sz="4400">
                <a:solidFill>
                  <a:schemeClr val="accent1"/>
                </a:solidFill>
                <a:latin typeface="Calibri" charset="0"/>
              </a:defRPr>
            </a:lvl6pPr>
            <a:lvl7pPr marL="914400" algn="ctr" fontAlgn="base">
              <a:spcBef>
                <a:spcPct val="0"/>
              </a:spcBef>
              <a:spcAft>
                <a:spcPct val="0"/>
              </a:spcAft>
              <a:defRPr sz="4400">
                <a:solidFill>
                  <a:schemeClr val="accent1"/>
                </a:solidFill>
                <a:latin typeface="Calibri" charset="0"/>
              </a:defRPr>
            </a:lvl7pPr>
            <a:lvl8pPr marL="1371600" algn="ctr" fontAlgn="base">
              <a:spcBef>
                <a:spcPct val="0"/>
              </a:spcBef>
              <a:spcAft>
                <a:spcPct val="0"/>
              </a:spcAft>
              <a:defRPr sz="4400">
                <a:solidFill>
                  <a:schemeClr val="accent1"/>
                </a:solidFill>
                <a:latin typeface="Calibri" charset="0"/>
              </a:defRPr>
            </a:lvl8pPr>
            <a:lvl9pPr marL="1828800" algn="ctr" fontAlgn="base">
              <a:spcBef>
                <a:spcPct val="0"/>
              </a:spcBef>
              <a:spcAft>
                <a:spcPct val="0"/>
              </a:spcAft>
              <a:defRPr sz="4400">
                <a:solidFill>
                  <a:schemeClr val="accent1"/>
                </a:solidFill>
                <a:latin typeface="Calibri" charset="0"/>
              </a:defRPr>
            </a:lvl9pPr>
          </a:lstStyle>
          <a:p>
            <a:r>
              <a:rPr lang="en-US" sz="2400" dirty="0"/>
              <a:t>R</a:t>
            </a:r>
            <a:r>
              <a:rPr lang="en-US" sz="2400" dirty="0" smtClean="0"/>
              <a:t>esults of Fundamental Study </a:t>
            </a:r>
          </a:p>
          <a:p>
            <a:r>
              <a:rPr lang="en-US" sz="2400" dirty="0" smtClean="0"/>
              <a:t>are Basis for the Innovation Applications  </a:t>
            </a:r>
            <a:endParaRPr lang="en-US" sz="2400" dirty="0"/>
          </a:p>
        </p:txBody>
      </p:sp>
    </p:spTree>
    <p:extLst>
      <p:ext uri="{BB962C8B-B14F-4D97-AF65-F5344CB8AC3E}">
        <p14:creationId xmlns:p14="http://schemas.microsoft.com/office/powerpoint/2010/main" val="1477260363"/>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350250" cy="857250"/>
          </a:xfrm>
        </p:spPr>
        <p:txBody>
          <a:bodyPr/>
          <a:lstStyle/>
          <a:p>
            <a:r>
              <a:rPr lang="en-GB" sz="2400" dirty="0" smtClean="0"/>
              <a:t>Medical Visual Diagnostics System </a:t>
            </a:r>
            <a:endParaRPr lang="en-US" sz="2400" dirty="0"/>
          </a:p>
        </p:txBody>
      </p:sp>
      <p:grpSp>
        <p:nvGrpSpPr>
          <p:cNvPr id="7" name="Group 4"/>
          <p:cNvGrpSpPr>
            <a:grpSpLocks/>
          </p:cNvGrpSpPr>
          <p:nvPr/>
        </p:nvGrpSpPr>
        <p:grpSpPr bwMode="auto">
          <a:xfrm>
            <a:off x="323702" y="2859959"/>
            <a:ext cx="3220944" cy="1765686"/>
            <a:chOff x="-2" y="2355"/>
            <a:chExt cx="2140" cy="1643"/>
          </a:xfrm>
        </p:grpSpPr>
        <p:cxnSp>
          <p:nvCxnSpPr>
            <p:cNvPr id="8" name="AutoShape 5"/>
            <p:cNvCxnSpPr>
              <a:cxnSpLocks noChangeShapeType="1"/>
            </p:cNvCxnSpPr>
            <p:nvPr/>
          </p:nvCxnSpPr>
          <p:spPr bwMode="auto">
            <a:xfrm flipV="1">
              <a:off x="131" y="3204"/>
              <a:ext cx="2007" cy="770"/>
            </a:xfrm>
            <a:prstGeom prst="bentConnector3">
              <a:avLst>
                <a:gd name="adj1" fmla="val 59241"/>
              </a:avLst>
            </a:prstGeom>
            <a:noFill/>
            <a:ln w="101600">
              <a:solidFill>
                <a:srgbClr val="FF3300"/>
              </a:solidFill>
              <a:miter lim="800000"/>
              <a:headEnd/>
              <a:tailEnd/>
            </a:ln>
            <a:extLst>
              <a:ext uri="{909E8E84-426E-40dd-AFC4-6F175D3DCCD1}">
                <a14:hiddenFill xmlns:a14="http://schemas.microsoft.com/office/drawing/2010/main">
                  <a:noFill/>
                </a14:hiddenFill>
              </a:ext>
            </a:extLst>
          </p:spPr>
        </p:cxnSp>
        <p:pic>
          <p:nvPicPr>
            <p:cNvPr id="9"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 y="2891"/>
              <a:ext cx="940" cy="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7"/>
            <p:cNvSpPr>
              <a:spLocks noChangeArrowheads="1"/>
            </p:cNvSpPr>
            <p:nvPr/>
          </p:nvSpPr>
          <p:spPr bwMode="auto">
            <a:xfrm>
              <a:off x="-2" y="2355"/>
              <a:ext cx="1259"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sz="1600" dirty="0">
                  <a:cs typeface="华文新魏" charset="0"/>
                </a:rPr>
                <a:t>X-ray</a:t>
              </a:r>
            </a:p>
            <a:p>
              <a:r>
                <a:rPr lang="en-US" altLang="zh-CN" sz="1600" dirty="0">
                  <a:cs typeface="华文新魏" charset="0"/>
                </a:rPr>
                <a:t>(</a:t>
              </a:r>
              <a:r>
                <a:rPr lang="en-US" altLang="zh-CN" sz="1600" dirty="0">
                  <a:solidFill>
                    <a:srgbClr val="FF0000"/>
                  </a:solidFill>
                  <a:cs typeface="华文新魏" charset="0"/>
                </a:rPr>
                <a:t>1901</a:t>
              </a:r>
              <a:r>
                <a:rPr lang="en-US" altLang="zh-CN" sz="1600" dirty="0">
                  <a:cs typeface="华文新魏" charset="0"/>
                </a:rPr>
                <a:t> Nobel Prize)</a:t>
              </a:r>
            </a:p>
          </p:txBody>
        </p:sp>
        <p:pic>
          <p:nvPicPr>
            <p:cNvPr id="1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 y="3309"/>
              <a:ext cx="597" cy="68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2" name="AutoShape 11"/>
            <p:cNvSpPr>
              <a:spLocks noChangeArrowheads="1"/>
            </p:cNvSpPr>
            <p:nvPr/>
          </p:nvSpPr>
          <p:spPr bwMode="auto">
            <a:xfrm>
              <a:off x="1196" y="3558"/>
              <a:ext cx="266" cy="176"/>
            </a:xfrm>
            <a:prstGeom prst="leftRightArrow">
              <a:avLst>
                <a:gd name="adj1" fmla="val 50000"/>
                <a:gd name="adj2" fmla="val 30227"/>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ea typeface="黑体" charset="0"/>
                <a:cs typeface="黑体" charset="0"/>
              </a:endParaRPr>
            </a:p>
          </p:txBody>
        </p:sp>
      </p:grpSp>
      <p:grpSp>
        <p:nvGrpSpPr>
          <p:cNvPr id="15" name="Group 12"/>
          <p:cNvGrpSpPr>
            <a:grpSpLocks/>
          </p:cNvGrpSpPr>
          <p:nvPr/>
        </p:nvGrpSpPr>
        <p:grpSpPr bwMode="auto">
          <a:xfrm>
            <a:off x="2267886" y="1851649"/>
            <a:ext cx="3428066" cy="2088760"/>
            <a:chOff x="1323" y="1415"/>
            <a:chExt cx="2277" cy="1942"/>
          </a:xfrm>
        </p:grpSpPr>
        <p:cxnSp>
          <p:nvCxnSpPr>
            <p:cNvPr id="16" name="AutoShape 13"/>
            <p:cNvCxnSpPr>
              <a:cxnSpLocks noChangeShapeType="1"/>
            </p:cNvCxnSpPr>
            <p:nvPr/>
          </p:nvCxnSpPr>
          <p:spPr bwMode="auto">
            <a:xfrm flipV="1">
              <a:off x="1558" y="2432"/>
              <a:ext cx="2042" cy="771"/>
            </a:xfrm>
            <a:prstGeom prst="bentConnector3">
              <a:avLst>
                <a:gd name="adj1" fmla="val 46667"/>
              </a:avLst>
            </a:prstGeom>
            <a:noFill/>
            <a:ln w="101600">
              <a:solidFill>
                <a:srgbClr val="FF3300"/>
              </a:solidFill>
              <a:miter lim="800000"/>
              <a:headEnd/>
              <a:tailEnd/>
            </a:ln>
            <a:extLst>
              <a:ext uri="{909E8E84-426E-40dd-AFC4-6F175D3DCCD1}">
                <a14:hiddenFill xmlns:a14="http://schemas.microsoft.com/office/drawing/2010/main">
                  <a:noFill/>
                </a14:hiddenFill>
              </a:ext>
            </a:extLst>
          </p:spPr>
        </p:cxnSp>
        <p:pic>
          <p:nvPicPr>
            <p:cNvPr id="17" name="Picture 14" descr="asr-800f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0" y="1951"/>
              <a:ext cx="1045" cy="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15"/>
            <p:cNvSpPr txBox="1">
              <a:spLocks noChangeArrowheads="1"/>
            </p:cNvSpPr>
            <p:nvPr/>
          </p:nvSpPr>
          <p:spPr bwMode="auto">
            <a:xfrm>
              <a:off x="1323" y="1415"/>
              <a:ext cx="1311"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a:defRPr sz="1200">
                  <a:solidFill>
                    <a:schemeClr val="tx1"/>
                  </a:solidFill>
                  <a:latin typeface="Arial" charset="0"/>
                  <a:ea typeface="ＭＳ Ｐゴシック" charset="0"/>
                </a:defRPr>
              </a:lvl3pPr>
              <a:lvl4pPr marL="1600200">
                <a:defRPr sz="14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a:defRPr sz="2000">
                  <a:solidFill>
                    <a:schemeClr val="tx1"/>
                  </a:solidFill>
                  <a:latin typeface="Arial" charset="0"/>
                  <a:ea typeface="ＭＳ Ｐゴシック" charset="0"/>
                </a:defRPr>
              </a:lvl6pPr>
              <a:lvl7pPr>
                <a:defRPr sz="2000">
                  <a:solidFill>
                    <a:schemeClr val="tx1"/>
                  </a:solidFill>
                  <a:latin typeface="Arial" charset="0"/>
                  <a:ea typeface="ＭＳ Ｐゴシック" charset="0"/>
                </a:defRPr>
              </a:lvl7pPr>
              <a:lvl8pPr>
                <a:defRPr sz="2000">
                  <a:solidFill>
                    <a:schemeClr val="tx1"/>
                  </a:solidFill>
                  <a:latin typeface="Arial" charset="0"/>
                  <a:ea typeface="ＭＳ Ｐゴシック" charset="0"/>
                </a:defRPr>
              </a:lvl8pPr>
              <a:lvl9pPr>
                <a:defRPr sz="2000">
                  <a:solidFill>
                    <a:schemeClr val="tx1"/>
                  </a:solidFill>
                  <a:latin typeface="Arial" charset="0"/>
                  <a:ea typeface="ＭＳ Ｐゴシック" charset="0"/>
                </a:defRPr>
              </a:lvl9pPr>
            </a:lstStyle>
            <a:p>
              <a:pPr eaLnBrk="1" hangingPunct="1"/>
              <a:r>
                <a:rPr lang="en-US" altLang="zh-CN" sz="1600" dirty="0">
                  <a:cs typeface="华文新魏" charset="0"/>
                </a:rPr>
                <a:t>CT</a:t>
              </a:r>
            </a:p>
            <a:p>
              <a:pPr eaLnBrk="1" hangingPunct="1"/>
              <a:r>
                <a:rPr lang="en-US" altLang="zh-CN" sz="1600" dirty="0">
                  <a:cs typeface="华文新魏" charset="0"/>
                </a:rPr>
                <a:t>(</a:t>
              </a:r>
              <a:r>
                <a:rPr lang="en-US" altLang="zh-CN" sz="1600" dirty="0">
                  <a:solidFill>
                    <a:srgbClr val="FF0000"/>
                  </a:solidFill>
                  <a:cs typeface="华文新魏" charset="0"/>
                </a:rPr>
                <a:t>1979</a:t>
              </a:r>
              <a:r>
                <a:rPr lang="en-US" altLang="zh-CN" sz="1600" dirty="0">
                  <a:cs typeface="华文新魏" charset="0"/>
                </a:rPr>
                <a:t> Nobel Prize)</a:t>
              </a:r>
            </a:p>
          </p:txBody>
        </p:sp>
        <p:pic>
          <p:nvPicPr>
            <p:cNvPr id="21"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56" y="2523"/>
              <a:ext cx="581" cy="83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0" name="AutoShape 19"/>
            <p:cNvSpPr>
              <a:spLocks noChangeArrowheads="1"/>
            </p:cNvSpPr>
            <p:nvPr/>
          </p:nvSpPr>
          <p:spPr bwMode="auto">
            <a:xfrm>
              <a:off x="2395" y="2704"/>
              <a:ext cx="262" cy="182"/>
            </a:xfrm>
            <a:prstGeom prst="leftRightArrow">
              <a:avLst>
                <a:gd name="adj1" fmla="val 50000"/>
                <a:gd name="adj2" fmla="val 28791"/>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ea typeface="黑体" charset="0"/>
                <a:cs typeface="黑体" charset="0"/>
              </a:endParaRPr>
            </a:p>
          </p:txBody>
        </p:sp>
      </p:grpSp>
      <p:grpSp>
        <p:nvGrpSpPr>
          <p:cNvPr id="23" name="Group 20"/>
          <p:cNvGrpSpPr>
            <a:grpSpLocks/>
          </p:cNvGrpSpPr>
          <p:nvPr/>
        </p:nvGrpSpPr>
        <p:grpSpPr bwMode="auto">
          <a:xfrm>
            <a:off x="3995241" y="1203527"/>
            <a:ext cx="3095999" cy="1872808"/>
            <a:chOff x="2496" y="820"/>
            <a:chExt cx="2056" cy="1742"/>
          </a:xfrm>
        </p:grpSpPr>
        <p:cxnSp>
          <p:nvCxnSpPr>
            <p:cNvPr id="24" name="AutoShape 21"/>
            <p:cNvCxnSpPr>
              <a:cxnSpLocks noChangeShapeType="1"/>
            </p:cNvCxnSpPr>
            <p:nvPr/>
          </p:nvCxnSpPr>
          <p:spPr bwMode="auto">
            <a:xfrm flipV="1">
              <a:off x="2510" y="1662"/>
              <a:ext cx="2042" cy="770"/>
            </a:xfrm>
            <a:prstGeom prst="bentConnector3">
              <a:avLst>
                <a:gd name="adj1" fmla="val 55190"/>
              </a:avLst>
            </a:prstGeom>
            <a:noFill/>
            <a:ln w="101600">
              <a:solidFill>
                <a:srgbClr val="FF3300"/>
              </a:solidFill>
              <a:miter lim="800000"/>
              <a:headEnd/>
              <a:tailEnd/>
            </a:ln>
            <a:extLst>
              <a:ext uri="{909E8E84-426E-40dd-AFC4-6F175D3DCCD1}">
                <a14:hiddenFill xmlns:a14="http://schemas.microsoft.com/office/drawing/2010/main">
                  <a:noFill/>
                </a14:hiddenFill>
              </a:ext>
            </a:extLst>
          </p:spPr>
        </p:cxnSp>
        <p:pic>
          <p:nvPicPr>
            <p:cNvPr id="25"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45" y="1423"/>
              <a:ext cx="952" cy="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Box 23"/>
            <p:cNvSpPr txBox="1">
              <a:spLocks noChangeArrowheads="1"/>
            </p:cNvSpPr>
            <p:nvPr/>
          </p:nvSpPr>
          <p:spPr bwMode="auto">
            <a:xfrm>
              <a:off x="2496" y="820"/>
              <a:ext cx="1259"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a:defRPr sz="1200">
                  <a:solidFill>
                    <a:schemeClr val="tx1"/>
                  </a:solidFill>
                  <a:latin typeface="Arial" charset="0"/>
                  <a:ea typeface="ＭＳ Ｐゴシック" charset="0"/>
                </a:defRPr>
              </a:lvl3pPr>
              <a:lvl4pPr marL="1600200">
                <a:defRPr sz="14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a:defRPr sz="2000">
                  <a:solidFill>
                    <a:schemeClr val="tx1"/>
                  </a:solidFill>
                  <a:latin typeface="Arial" charset="0"/>
                  <a:ea typeface="ＭＳ Ｐゴシック" charset="0"/>
                </a:defRPr>
              </a:lvl6pPr>
              <a:lvl7pPr>
                <a:defRPr sz="2000">
                  <a:solidFill>
                    <a:schemeClr val="tx1"/>
                  </a:solidFill>
                  <a:latin typeface="Arial" charset="0"/>
                  <a:ea typeface="ＭＳ Ｐゴシック" charset="0"/>
                </a:defRPr>
              </a:lvl7pPr>
              <a:lvl8pPr>
                <a:defRPr sz="2000">
                  <a:solidFill>
                    <a:schemeClr val="tx1"/>
                  </a:solidFill>
                  <a:latin typeface="Arial" charset="0"/>
                  <a:ea typeface="ＭＳ Ｐゴシック" charset="0"/>
                </a:defRPr>
              </a:lvl8pPr>
              <a:lvl9pPr>
                <a:defRPr sz="2000">
                  <a:solidFill>
                    <a:schemeClr val="tx1"/>
                  </a:solidFill>
                  <a:latin typeface="Arial" charset="0"/>
                  <a:ea typeface="ＭＳ Ｐゴシック" charset="0"/>
                </a:defRPr>
              </a:lvl9pPr>
            </a:lstStyle>
            <a:p>
              <a:pPr eaLnBrk="1" hangingPunct="1"/>
              <a:r>
                <a:rPr lang="en-US" altLang="zh-CN" sz="1600" dirty="0" smtClean="0">
                  <a:cs typeface="华文新魏" charset="0"/>
                </a:rPr>
                <a:t>MRT</a:t>
              </a:r>
              <a:endParaRPr lang="en-US" altLang="zh-CN" sz="1600" dirty="0">
                <a:cs typeface="华文新魏" charset="0"/>
              </a:endParaRPr>
            </a:p>
            <a:p>
              <a:pPr eaLnBrk="1" hangingPunct="1"/>
              <a:r>
                <a:rPr lang="en-US" altLang="zh-CN" sz="1600" dirty="0">
                  <a:cs typeface="华文新魏" charset="0"/>
                </a:rPr>
                <a:t>(</a:t>
              </a:r>
              <a:r>
                <a:rPr lang="en-US" altLang="zh-CN" sz="1600" dirty="0">
                  <a:solidFill>
                    <a:srgbClr val="FF0000"/>
                  </a:solidFill>
                  <a:cs typeface="华文新魏" charset="0"/>
                </a:rPr>
                <a:t>2003</a:t>
              </a:r>
              <a:r>
                <a:rPr lang="en-US" altLang="zh-CN" sz="1600" dirty="0">
                  <a:cs typeface="华文新魏" charset="0"/>
                </a:rPr>
                <a:t> Nobel Prize)</a:t>
              </a:r>
            </a:p>
          </p:txBody>
        </p:sp>
        <p:grpSp>
          <p:nvGrpSpPr>
            <p:cNvPr id="27" name="Group 24"/>
            <p:cNvGrpSpPr>
              <a:grpSpLocks/>
            </p:cNvGrpSpPr>
            <p:nvPr/>
          </p:nvGrpSpPr>
          <p:grpSpPr bwMode="auto">
            <a:xfrm>
              <a:off x="3770" y="1752"/>
              <a:ext cx="635" cy="810"/>
              <a:chOff x="3706" y="1752"/>
              <a:chExt cx="635" cy="810"/>
            </a:xfrm>
          </p:grpSpPr>
          <p:pic>
            <p:nvPicPr>
              <p:cNvPr id="29" name="Picture 25" descr="Image16"/>
              <p:cNvPicPr>
                <a:picLocks noChangeAspect="1" noChangeArrowheads="1"/>
              </p:cNvPicPr>
              <p:nvPr/>
            </p:nvPicPr>
            <p:blipFill>
              <a:blip r:embed="rId7">
                <a:extLst>
                  <a:ext uri="{28A0092B-C50C-407E-A947-70E740481C1C}">
                    <a14:useLocalDpi xmlns:a14="http://schemas.microsoft.com/office/drawing/2010/main" val="0"/>
                  </a:ext>
                </a:extLst>
              </a:blip>
              <a:srcRect l="31763" t="11253" r="1845" b="23018"/>
              <a:stretch>
                <a:fillRect/>
              </a:stretch>
            </p:blipFill>
            <p:spPr bwMode="auto">
              <a:xfrm>
                <a:off x="3706" y="1752"/>
                <a:ext cx="635" cy="81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0" name="Line 26"/>
              <p:cNvSpPr>
                <a:spLocks noChangeShapeType="1"/>
              </p:cNvSpPr>
              <p:nvPr/>
            </p:nvSpPr>
            <p:spPr bwMode="auto">
              <a:xfrm flipH="1">
                <a:off x="4119" y="1882"/>
                <a:ext cx="177" cy="142"/>
              </a:xfrm>
              <a:prstGeom prst="line">
                <a:avLst/>
              </a:prstGeom>
              <a:noFill/>
              <a:ln w="57150">
                <a:solidFill>
                  <a:srgbClr val="FF99CC"/>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28" name="AutoShape 28"/>
            <p:cNvSpPr>
              <a:spLocks noChangeArrowheads="1"/>
            </p:cNvSpPr>
            <p:nvPr/>
          </p:nvSpPr>
          <p:spPr bwMode="auto">
            <a:xfrm>
              <a:off x="3498" y="1933"/>
              <a:ext cx="272" cy="182"/>
            </a:xfrm>
            <a:prstGeom prst="leftRightArrow">
              <a:avLst>
                <a:gd name="adj1" fmla="val 50000"/>
                <a:gd name="adj2" fmla="val 29890"/>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ea typeface="黑体" charset="0"/>
                <a:cs typeface="黑体" charset="0"/>
              </a:endParaRPr>
            </a:p>
          </p:txBody>
        </p:sp>
      </p:grpSp>
      <p:grpSp>
        <p:nvGrpSpPr>
          <p:cNvPr id="32" name="Group 31"/>
          <p:cNvGrpSpPr>
            <a:grpSpLocks/>
          </p:cNvGrpSpPr>
          <p:nvPr/>
        </p:nvGrpSpPr>
        <p:grpSpPr bwMode="auto">
          <a:xfrm>
            <a:off x="5580419" y="1131209"/>
            <a:ext cx="3225457" cy="976494"/>
            <a:chOff x="3561" y="753"/>
            <a:chExt cx="2143" cy="908"/>
          </a:xfrm>
        </p:grpSpPr>
        <p:cxnSp>
          <p:nvCxnSpPr>
            <p:cNvPr id="33" name="AutoShape 32"/>
            <p:cNvCxnSpPr>
              <a:cxnSpLocks noChangeShapeType="1"/>
            </p:cNvCxnSpPr>
            <p:nvPr/>
          </p:nvCxnSpPr>
          <p:spPr bwMode="auto">
            <a:xfrm flipV="1">
              <a:off x="3623" y="890"/>
              <a:ext cx="2081" cy="771"/>
            </a:xfrm>
            <a:prstGeom prst="bentConnector3">
              <a:avLst>
                <a:gd name="adj1" fmla="val 49977"/>
              </a:avLst>
            </a:prstGeom>
            <a:noFill/>
            <a:ln w="101600">
              <a:solidFill>
                <a:srgbClr val="FF0000"/>
              </a:solidFill>
              <a:miter lim="800000"/>
              <a:headEnd/>
              <a:tailEnd type="triangle" w="med" len="lg"/>
            </a:ln>
            <a:extLst>
              <a:ext uri="{909E8E84-426E-40dd-AFC4-6F175D3DCCD1}">
                <a14:hiddenFill xmlns:a14="http://schemas.microsoft.com/office/drawing/2010/main">
                  <a:noFill/>
                </a14:hiddenFill>
              </a:ext>
            </a:extLst>
          </p:spPr>
        </p:cxnSp>
        <p:sp>
          <p:nvSpPr>
            <p:cNvPr id="34" name="Text Box 33"/>
            <p:cNvSpPr txBox="1">
              <a:spLocks noChangeArrowheads="1"/>
            </p:cNvSpPr>
            <p:nvPr/>
          </p:nvSpPr>
          <p:spPr bwMode="auto">
            <a:xfrm>
              <a:off x="3561" y="753"/>
              <a:ext cx="1018"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charset="0"/>
                  <a:ea typeface="ＭＳ Ｐゴシック" charset="0"/>
                </a:defRPr>
              </a:lvl1pPr>
              <a:lvl2pPr marL="742950" indent="-285750">
                <a:defRPr sz="1600">
                  <a:solidFill>
                    <a:schemeClr val="tx1"/>
                  </a:solidFill>
                  <a:latin typeface="Arial" charset="0"/>
                  <a:ea typeface="ＭＳ Ｐゴシック" charset="0"/>
                </a:defRPr>
              </a:lvl2pPr>
              <a:lvl3pPr marL="1143000">
                <a:defRPr sz="1200">
                  <a:solidFill>
                    <a:schemeClr val="tx1"/>
                  </a:solidFill>
                  <a:latin typeface="Arial" charset="0"/>
                  <a:ea typeface="ＭＳ Ｐゴシック" charset="0"/>
                </a:defRPr>
              </a:lvl3pPr>
              <a:lvl4pPr marL="1600200">
                <a:defRPr sz="14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a:defRPr sz="2000">
                  <a:solidFill>
                    <a:schemeClr val="tx1"/>
                  </a:solidFill>
                  <a:latin typeface="Arial" charset="0"/>
                  <a:ea typeface="ＭＳ Ｐゴシック" charset="0"/>
                </a:defRPr>
              </a:lvl6pPr>
              <a:lvl7pPr>
                <a:defRPr sz="2000">
                  <a:solidFill>
                    <a:schemeClr val="tx1"/>
                  </a:solidFill>
                  <a:latin typeface="Arial" charset="0"/>
                  <a:ea typeface="ＭＳ Ｐゴシック" charset="0"/>
                </a:defRPr>
              </a:lvl7pPr>
              <a:lvl8pPr>
                <a:defRPr sz="2000">
                  <a:solidFill>
                    <a:schemeClr val="tx1"/>
                  </a:solidFill>
                  <a:latin typeface="Arial" charset="0"/>
                  <a:ea typeface="ＭＳ Ｐゴシック" charset="0"/>
                </a:defRPr>
              </a:lvl8pPr>
              <a:lvl9pPr>
                <a:defRPr sz="2000">
                  <a:solidFill>
                    <a:schemeClr val="tx1"/>
                  </a:solidFill>
                  <a:latin typeface="Arial" charset="0"/>
                  <a:ea typeface="ＭＳ Ｐゴシック" charset="0"/>
                </a:defRPr>
              </a:lvl9pPr>
            </a:lstStyle>
            <a:p>
              <a:pPr eaLnBrk="1" hangingPunct="1"/>
              <a:r>
                <a:rPr lang="en-US" altLang="zh-CN" sz="1600" dirty="0">
                  <a:solidFill>
                    <a:srgbClr val="FF0000"/>
                  </a:solidFill>
                  <a:cs typeface="华文新魏" charset="0"/>
                </a:rPr>
                <a:t>PET</a:t>
              </a:r>
            </a:p>
          </p:txBody>
        </p:sp>
        <p:sp>
          <p:nvSpPr>
            <p:cNvPr id="36" name="AutoShape 36"/>
            <p:cNvSpPr>
              <a:spLocks noChangeArrowheads="1"/>
            </p:cNvSpPr>
            <p:nvPr/>
          </p:nvSpPr>
          <p:spPr bwMode="auto">
            <a:xfrm>
              <a:off x="4549" y="1207"/>
              <a:ext cx="226" cy="182"/>
            </a:xfrm>
            <a:prstGeom prst="leftRightArrow">
              <a:avLst>
                <a:gd name="adj1" fmla="val 50000"/>
                <a:gd name="adj2" fmla="val 24835"/>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ea typeface="黑体" charset="0"/>
                <a:cs typeface="黑体" charset="0"/>
              </a:endParaRPr>
            </a:p>
          </p:txBody>
        </p:sp>
      </p:grpSp>
      <p:pic>
        <p:nvPicPr>
          <p:cNvPr id="37"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35691" y="987575"/>
            <a:ext cx="923925" cy="953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 descr="F:\1111-naf\Projections of Reslice.gif"/>
          <p:cNvPicPr>
            <a:picLocks noChangeAspect="1" noChangeArrowheads="1" noCrop="1"/>
          </p:cNvPicPr>
          <p:nvPr/>
        </p:nvPicPr>
        <p:blipFill>
          <a:blip r:embed="rId9">
            <a:extLst>
              <a:ext uri="{28A0092B-C50C-407E-A947-70E740481C1C}">
                <a14:useLocalDpi xmlns:a14="http://schemas.microsoft.com/office/drawing/2010/main" val="0"/>
              </a:ext>
            </a:extLst>
          </a:blip>
          <a:srcRect/>
          <a:stretch>
            <a:fillRect/>
          </a:stretch>
        </p:blipFill>
        <p:spPr bwMode="auto">
          <a:xfrm>
            <a:off x="7516815" y="1379234"/>
            <a:ext cx="719138" cy="1552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Content Placeholder 2"/>
          <p:cNvSpPr txBox="1">
            <a:spLocks/>
          </p:cNvSpPr>
          <p:nvPr/>
        </p:nvSpPr>
        <p:spPr bwMode="auto">
          <a:xfrm>
            <a:off x="107504" y="699543"/>
            <a:ext cx="468630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Tx/>
              <a:buFont typeface="Arial Black" charset="0"/>
              <a:buChar char="&gt;"/>
              <a:defRPr sz="2000">
                <a:solidFill>
                  <a:schemeClr val="tx1"/>
                </a:solidFill>
                <a:latin typeface="+mn-lt"/>
                <a:ea typeface="ＭＳ Ｐゴシック" charset="0"/>
                <a:cs typeface="+mn-cs"/>
              </a:defRPr>
            </a:lvl1pPr>
            <a:lvl2pPr marL="628650" indent="-184150" algn="l" rtl="0" eaLnBrk="1" fontAlgn="base" hangingPunct="1">
              <a:spcBef>
                <a:spcPct val="0"/>
              </a:spcBef>
              <a:spcAft>
                <a:spcPct val="50000"/>
              </a:spcAft>
              <a:buClr>
                <a:schemeClr val="bg2"/>
              </a:buClr>
              <a:buFont typeface="Wingdings" charset="0"/>
              <a:buChar char="§"/>
              <a:defRPr sz="1600">
                <a:solidFill>
                  <a:schemeClr val="tx1"/>
                </a:solidFill>
                <a:latin typeface="+mn-lt"/>
                <a:ea typeface="ＭＳ Ｐゴシック" charset="0"/>
              </a:defRPr>
            </a:lvl2pPr>
            <a:lvl3pPr marL="1236663" indent="-228600" algn="l" rtl="0" eaLnBrk="1" fontAlgn="base" hangingPunct="1">
              <a:spcBef>
                <a:spcPct val="0"/>
              </a:spcBef>
              <a:spcAft>
                <a:spcPct val="0"/>
              </a:spcAft>
              <a:buClr>
                <a:srgbClr val="FF9900"/>
              </a:buClr>
              <a:buFont typeface="Arial Black" charset="0"/>
              <a:defRPr sz="1200">
                <a:solidFill>
                  <a:schemeClr val="tx1"/>
                </a:solidFill>
                <a:latin typeface="+mn-lt"/>
                <a:ea typeface="ＭＳ Ｐゴシック" charset="0"/>
              </a:defRPr>
            </a:lvl3pPr>
            <a:lvl4pPr marL="1644650" indent="-228600" algn="l" rtl="0" eaLnBrk="1" fontAlgn="base" hangingPunct="1">
              <a:spcBef>
                <a:spcPct val="0"/>
              </a:spcBef>
              <a:spcAft>
                <a:spcPct val="0"/>
              </a:spcAft>
              <a:buFont typeface="Wingdings" charset="0"/>
              <a:buChar char="§"/>
              <a:defRPr sz="1400">
                <a:solidFill>
                  <a:schemeClr val="tx1"/>
                </a:solidFill>
                <a:latin typeface="+mn-lt"/>
                <a:ea typeface="ＭＳ Ｐゴシック" charset="0"/>
              </a:defRPr>
            </a:lvl4pPr>
            <a:lvl5pPr marL="2057400" indent="-228600" algn="l" rtl="0" eaLnBrk="1" fontAlgn="base" hangingPunct="1">
              <a:spcBef>
                <a:spcPct val="20000"/>
              </a:spcBef>
              <a:spcAft>
                <a:spcPct val="0"/>
              </a:spcAft>
              <a:defRPr sz="2000">
                <a:solidFill>
                  <a:schemeClr val="tx1"/>
                </a:solidFill>
                <a:latin typeface="+mn-lt"/>
                <a:ea typeface="ＭＳ Ｐゴシック" charset="0"/>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spcAft>
                <a:spcPts val="0"/>
              </a:spcAft>
              <a:buNone/>
            </a:pPr>
            <a:r>
              <a:rPr lang="en-US" sz="1600" dirty="0">
                <a:solidFill>
                  <a:srgbClr val="FF0000"/>
                </a:solidFill>
                <a:latin typeface="Arial"/>
                <a:cs typeface="Arial"/>
              </a:rPr>
              <a:t>Positron </a:t>
            </a:r>
            <a:r>
              <a:rPr lang="en-US" sz="1600" dirty="0" smtClean="0">
                <a:solidFill>
                  <a:srgbClr val="FF0000"/>
                </a:solidFill>
                <a:latin typeface="Arial"/>
                <a:cs typeface="Arial"/>
              </a:rPr>
              <a:t>Emission Tomography (PET) </a:t>
            </a:r>
            <a:r>
              <a:rPr lang="en-US" sz="1600" dirty="0" smtClean="0">
                <a:latin typeface="Arial"/>
                <a:cs typeface="Arial"/>
              </a:rPr>
              <a:t>is </a:t>
            </a:r>
            <a:r>
              <a:rPr lang="en-US" sz="1600" dirty="0">
                <a:latin typeface="Arial"/>
                <a:cs typeface="Arial"/>
              </a:rPr>
              <a:t>one of the most </a:t>
            </a:r>
            <a:r>
              <a:rPr lang="en-US" sz="1600" dirty="0" smtClean="0">
                <a:latin typeface="Arial"/>
                <a:cs typeface="Arial"/>
              </a:rPr>
              <a:t>efficient</a:t>
            </a:r>
            <a:r>
              <a:rPr lang="en-US" sz="1600" dirty="0" smtClean="0">
                <a:solidFill>
                  <a:srgbClr val="FF0000"/>
                </a:solidFill>
                <a:latin typeface="Arial"/>
                <a:cs typeface="Arial"/>
              </a:rPr>
              <a:t> Cancer Functional Diagnostics</a:t>
            </a:r>
          </a:p>
          <a:p>
            <a:pPr marL="0" indent="0">
              <a:buNone/>
            </a:pPr>
            <a:endParaRPr lang="en-US" dirty="0">
              <a:solidFill>
                <a:srgbClr val="FF0000"/>
              </a:solidFill>
            </a:endParaRPr>
          </a:p>
        </p:txBody>
      </p:sp>
      <p:sp>
        <p:nvSpPr>
          <p:cNvPr id="41" name="Content Placeholder 2"/>
          <p:cNvSpPr txBox="1">
            <a:spLocks/>
          </p:cNvSpPr>
          <p:nvPr/>
        </p:nvSpPr>
        <p:spPr bwMode="auto">
          <a:xfrm rot="19856887">
            <a:off x="-64164" y="2129798"/>
            <a:ext cx="2715009" cy="33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Tx/>
              <a:buFont typeface="Arial Black" charset="0"/>
              <a:buChar char="&gt;"/>
              <a:defRPr sz="2000">
                <a:solidFill>
                  <a:schemeClr val="tx1"/>
                </a:solidFill>
                <a:latin typeface="+mn-lt"/>
                <a:ea typeface="ＭＳ Ｐゴシック" charset="0"/>
                <a:cs typeface="+mn-cs"/>
              </a:defRPr>
            </a:lvl1pPr>
            <a:lvl2pPr marL="628650" indent="-184150" algn="l" rtl="0" eaLnBrk="1" fontAlgn="base" hangingPunct="1">
              <a:spcBef>
                <a:spcPct val="0"/>
              </a:spcBef>
              <a:spcAft>
                <a:spcPct val="50000"/>
              </a:spcAft>
              <a:buClr>
                <a:schemeClr val="bg2"/>
              </a:buClr>
              <a:buFont typeface="Wingdings" charset="0"/>
              <a:buChar char="§"/>
              <a:defRPr sz="1600">
                <a:solidFill>
                  <a:schemeClr val="tx1"/>
                </a:solidFill>
                <a:latin typeface="+mn-lt"/>
                <a:ea typeface="ＭＳ Ｐゴシック" charset="0"/>
              </a:defRPr>
            </a:lvl2pPr>
            <a:lvl3pPr marL="1236663" indent="-228600" algn="l" rtl="0" eaLnBrk="1" fontAlgn="base" hangingPunct="1">
              <a:spcBef>
                <a:spcPct val="0"/>
              </a:spcBef>
              <a:spcAft>
                <a:spcPct val="0"/>
              </a:spcAft>
              <a:buClr>
                <a:srgbClr val="FF9900"/>
              </a:buClr>
              <a:buFont typeface="Arial Black" charset="0"/>
              <a:defRPr sz="1200">
                <a:solidFill>
                  <a:schemeClr val="tx1"/>
                </a:solidFill>
                <a:latin typeface="+mn-lt"/>
                <a:ea typeface="ＭＳ Ｐゴシック" charset="0"/>
              </a:defRPr>
            </a:lvl3pPr>
            <a:lvl4pPr marL="1644650" indent="-228600" algn="l" rtl="0" eaLnBrk="1" fontAlgn="base" hangingPunct="1">
              <a:spcBef>
                <a:spcPct val="0"/>
              </a:spcBef>
              <a:spcAft>
                <a:spcPct val="0"/>
              </a:spcAft>
              <a:buFont typeface="Wingdings" charset="0"/>
              <a:buChar char="§"/>
              <a:defRPr sz="1400">
                <a:solidFill>
                  <a:schemeClr val="tx1"/>
                </a:solidFill>
                <a:latin typeface="+mn-lt"/>
                <a:ea typeface="ＭＳ Ｐゴシック" charset="0"/>
              </a:defRPr>
            </a:lvl4pPr>
            <a:lvl5pPr marL="2057400" indent="-228600" algn="l" rtl="0" eaLnBrk="1" fontAlgn="base" hangingPunct="1">
              <a:spcBef>
                <a:spcPct val="20000"/>
              </a:spcBef>
              <a:spcAft>
                <a:spcPct val="0"/>
              </a:spcAft>
              <a:defRPr sz="2000">
                <a:solidFill>
                  <a:schemeClr val="tx1"/>
                </a:solidFill>
                <a:latin typeface="+mn-lt"/>
                <a:ea typeface="ＭＳ Ｐゴシック" charset="0"/>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gn="ctr">
              <a:buNone/>
            </a:pPr>
            <a:r>
              <a:rPr lang="en-US" dirty="0" smtClean="0"/>
              <a:t>Topological</a:t>
            </a:r>
            <a:endParaRPr lang="en-US" dirty="0"/>
          </a:p>
        </p:txBody>
      </p:sp>
      <p:sp>
        <p:nvSpPr>
          <p:cNvPr id="42" name="Content Placeholder 2"/>
          <p:cNvSpPr txBox="1">
            <a:spLocks/>
          </p:cNvSpPr>
          <p:nvPr/>
        </p:nvSpPr>
        <p:spPr bwMode="auto">
          <a:xfrm rot="19856887">
            <a:off x="5330399" y="617852"/>
            <a:ext cx="1826207" cy="33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Tx/>
              <a:buFont typeface="Arial Black" charset="0"/>
              <a:buChar char="&gt;"/>
              <a:defRPr sz="2000">
                <a:solidFill>
                  <a:schemeClr val="tx1"/>
                </a:solidFill>
                <a:latin typeface="+mn-lt"/>
                <a:ea typeface="ＭＳ Ｐゴシック" charset="0"/>
                <a:cs typeface="+mn-cs"/>
              </a:defRPr>
            </a:lvl1pPr>
            <a:lvl2pPr marL="628650" indent="-184150" algn="l" rtl="0" eaLnBrk="1" fontAlgn="base" hangingPunct="1">
              <a:spcBef>
                <a:spcPct val="0"/>
              </a:spcBef>
              <a:spcAft>
                <a:spcPct val="50000"/>
              </a:spcAft>
              <a:buClr>
                <a:schemeClr val="bg2"/>
              </a:buClr>
              <a:buFont typeface="Wingdings" charset="0"/>
              <a:buChar char="§"/>
              <a:defRPr sz="1600">
                <a:solidFill>
                  <a:schemeClr val="tx1"/>
                </a:solidFill>
                <a:latin typeface="+mn-lt"/>
                <a:ea typeface="ＭＳ Ｐゴシック" charset="0"/>
              </a:defRPr>
            </a:lvl2pPr>
            <a:lvl3pPr marL="1236663" indent="-228600" algn="l" rtl="0" eaLnBrk="1" fontAlgn="base" hangingPunct="1">
              <a:spcBef>
                <a:spcPct val="0"/>
              </a:spcBef>
              <a:spcAft>
                <a:spcPct val="0"/>
              </a:spcAft>
              <a:buClr>
                <a:srgbClr val="FF9900"/>
              </a:buClr>
              <a:buFont typeface="Arial Black" charset="0"/>
              <a:defRPr sz="1200">
                <a:solidFill>
                  <a:schemeClr val="tx1"/>
                </a:solidFill>
                <a:latin typeface="+mn-lt"/>
                <a:ea typeface="ＭＳ Ｐゴシック" charset="0"/>
              </a:defRPr>
            </a:lvl3pPr>
            <a:lvl4pPr marL="1644650" indent="-228600" algn="l" rtl="0" eaLnBrk="1" fontAlgn="base" hangingPunct="1">
              <a:spcBef>
                <a:spcPct val="0"/>
              </a:spcBef>
              <a:spcAft>
                <a:spcPct val="0"/>
              </a:spcAft>
              <a:buFont typeface="Wingdings" charset="0"/>
              <a:buChar char="§"/>
              <a:defRPr sz="1400">
                <a:solidFill>
                  <a:schemeClr val="tx1"/>
                </a:solidFill>
                <a:latin typeface="+mn-lt"/>
                <a:ea typeface="ＭＳ Ｐゴシック" charset="0"/>
              </a:defRPr>
            </a:lvl4pPr>
            <a:lvl5pPr marL="2057400" indent="-228600" algn="l" rtl="0" eaLnBrk="1" fontAlgn="base" hangingPunct="1">
              <a:spcBef>
                <a:spcPct val="20000"/>
              </a:spcBef>
              <a:spcAft>
                <a:spcPct val="0"/>
              </a:spcAft>
              <a:defRPr sz="2000">
                <a:solidFill>
                  <a:schemeClr val="tx1"/>
                </a:solidFill>
                <a:latin typeface="+mn-lt"/>
                <a:ea typeface="ＭＳ Ｐゴシック" charset="0"/>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gn="ctr">
              <a:buNone/>
            </a:pPr>
            <a:r>
              <a:rPr lang="en-US" sz="1800" dirty="0" smtClean="0">
                <a:solidFill>
                  <a:srgbClr val="FF0000"/>
                </a:solidFill>
              </a:rPr>
              <a:t>Functional</a:t>
            </a:r>
            <a:endParaRPr lang="en-US" sz="1800" dirty="0">
              <a:solidFill>
                <a:srgbClr val="FF0000"/>
              </a:solidFill>
            </a:endParaRPr>
          </a:p>
        </p:txBody>
      </p:sp>
      <p:sp>
        <p:nvSpPr>
          <p:cNvPr id="3" name="TextBox 2"/>
          <p:cNvSpPr txBox="1"/>
          <p:nvPr/>
        </p:nvSpPr>
        <p:spPr>
          <a:xfrm>
            <a:off x="3851920" y="4227934"/>
            <a:ext cx="5099436" cy="646331"/>
          </a:xfrm>
          <a:prstGeom prst="rect">
            <a:avLst/>
          </a:prstGeom>
          <a:noFill/>
        </p:spPr>
        <p:txBody>
          <a:bodyPr wrap="none" rtlCol="0">
            <a:spAutoFit/>
          </a:bodyPr>
          <a:lstStyle/>
          <a:p>
            <a:r>
              <a:rPr lang="en-US" dirty="0" smtClean="0">
                <a:solidFill>
                  <a:srgbClr val="FF0000"/>
                </a:solidFill>
              </a:rPr>
              <a:t>Since 2012 development of the </a:t>
            </a:r>
            <a:r>
              <a:rPr lang="en-US" dirty="0">
                <a:solidFill>
                  <a:srgbClr val="FF0000"/>
                </a:solidFill>
              </a:rPr>
              <a:t>N</a:t>
            </a:r>
            <a:r>
              <a:rPr lang="en-US" dirty="0" smtClean="0">
                <a:solidFill>
                  <a:srgbClr val="FF0000"/>
                </a:solidFill>
              </a:rPr>
              <a:t>ew </a:t>
            </a:r>
            <a:r>
              <a:rPr lang="en-US" dirty="0">
                <a:solidFill>
                  <a:srgbClr val="FF0000"/>
                </a:solidFill>
              </a:rPr>
              <a:t>G</a:t>
            </a:r>
            <a:r>
              <a:rPr lang="en-US" dirty="0" smtClean="0">
                <a:solidFill>
                  <a:srgbClr val="FF0000"/>
                </a:solidFill>
              </a:rPr>
              <a:t>eneration</a:t>
            </a:r>
          </a:p>
          <a:p>
            <a:r>
              <a:rPr lang="en-US" dirty="0">
                <a:solidFill>
                  <a:srgbClr val="FF0000"/>
                </a:solidFill>
              </a:rPr>
              <a:t>o</a:t>
            </a:r>
            <a:r>
              <a:rPr lang="en-US" dirty="0" smtClean="0">
                <a:solidFill>
                  <a:srgbClr val="FF0000"/>
                </a:solidFill>
              </a:rPr>
              <a:t>f PET,  in China  </a:t>
            </a:r>
            <a:endParaRPr lang="en-US" dirty="0">
              <a:solidFill>
                <a:srgbClr val="FF0000"/>
              </a:solidFill>
            </a:endParaRPr>
          </a:p>
        </p:txBody>
      </p:sp>
    </p:spTree>
    <p:extLst>
      <p:ext uri="{BB962C8B-B14F-4D97-AF65-F5344CB8AC3E}">
        <p14:creationId xmlns:p14="http://schemas.microsoft.com/office/powerpoint/2010/main" val="420793212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Rectangle 3"/>
          <p:cNvSpPr>
            <a:spLocks noGrp="1" noChangeArrowheads="1"/>
          </p:cNvSpPr>
          <p:nvPr>
            <p:ph type="body" sz="half" idx="1"/>
          </p:nvPr>
        </p:nvSpPr>
        <p:spPr>
          <a:xfrm>
            <a:off x="609600" y="1257300"/>
            <a:ext cx="2057400" cy="285750"/>
          </a:xfrm>
        </p:spPr>
        <p:txBody>
          <a:bodyPr/>
          <a:lstStyle/>
          <a:p>
            <a:pPr defTabSz="914400">
              <a:spcBef>
                <a:spcPct val="20000"/>
              </a:spcBef>
            </a:pPr>
            <a:r>
              <a:rPr lang="en-US" sz="1800">
                <a:solidFill>
                  <a:schemeClr val="bg1"/>
                </a:solidFill>
                <a:latin typeface="Arial" charset="0"/>
              </a:rPr>
              <a:t>PET Principle</a:t>
            </a:r>
          </a:p>
        </p:txBody>
      </p:sp>
      <p:pic>
        <p:nvPicPr>
          <p:cNvPr id="68618" name="Picture 10" descr="800px-PET-schema"/>
          <p:cNvPicPr>
            <a:picLocks noGrp="1" noChangeAspect="1" noChangeArrowheads="1"/>
          </p:cNvPicPr>
          <p:nvPr>
            <p:ph sz="quarter" idx="2"/>
          </p:nvPr>
        </p:nvPicPr>
        <p:blipFill>
          <a:blip r:embed="rId2">
            <a:extLst>
              <a:ext uri="{28A0092B-C50C-407E-A947-70E740481C1C}">
                <a14:useLocalDpi xmlns:a14="http://schemas.microsoft.com/office/drawing/2010/main" val="0"/>
              </a:ext>
            </a:extLst>
          </a:blip>
          <a:srcRect/>
          <a:stretch>
            <a:fillRect/>
          </a:stretch>
        </p:blipFill>
        <p:spPr>
          <a:xfrm>
            <a:off x="1043608" y="1131590"/>
            <a:ext cx="3843389" cy="2441426"/>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pic>
        <p:nvPicPr>
          <p:cNvPr id="68620" name="Picture 12" descr="180px-PET-MIPS-anim"/>
          <p:cNvPicPr>
            <a:picLocks noGrp="1" noChangeAspect="1" noChangeArrowheads="1" noCrop="1"/>
          </p:cNvPicPr>
          <p:nvPr>
            <p:ph sz="quarter" idx="3"/>
          </p:nvPr>
        </p:nvPicPr>
        <p:blipFill>
          <a:blip r:embed="rId3">
            <a:extLst>
              <a:ext uri="{28A0092B-C50C-407E-A947-70E740481C1C}">
                <a14:useLocalDpi xmlns:a14="http://schemas.microsoft.com/office/drawing/2010/main" val="0"/>
              </a:ext>
            </a:extLst>
          </a:blip>
          <a:srcRect/>
          <a:stretch>
            <a:fillRect/>
          </a:stretch>
        </p:blipFill>
        <p:spPr>
          <a:xfrm>
            <a:off x="5724128" y="915566"/>
            <a:ext cx="2281712" cy="3217586"/>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
        <p:nvSpPr>
          <p:cNvPr id="68623" name="Text Box 15"/>
          <p:cNvSpPr txBox="1">
            <a:spLocks noChangeArrowheads="1"/>
          </p:cNvSpPr>
          <p:nvPr/>
        </p:nvSpPr>
        <p:spPr bwMode="auto">
          <a:xfrm>
            <a:off x="467544" y="4227934"/>
            <a:ext cx="8352928" cy="7200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331788" indent="-331788">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1pPr>
            <a:lvl2pPr>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2pPr>
            <a:lvl3pPr>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3pPr>
            <a:lvl4pPr>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4pPr>
            <a:lvl5pPr>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5pPr>
            <a:lvl6pPr marL="2514600" indent="-228600" algn="r" eaLnBrk="0" fontAlgn="base" hangingPunct="0">
              <a:spcBef>
                <a:spcPct val="0"/>
              </a:spcBef>
              <a:spcAft>
                <a:spcPct val="0"/>
              </a:spcAft>
              <a:buClr>
                <a:srgbClr val="000000"/>
              </a:buClr>
              <a:buSzPct val="100000"/>
              <a:buFont typeface="Times New Roman" charset="0"/>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6pPr>
            <a:lvl7pPr marL="2971800" indent="-228600" algn="r" eaLnBrk="0" fontAlgn="base" hangingPunct="0">
              <a:spcBef>
                <a:spcPct val="0"/>
              </a:spcBef>
              <a:spcAft>
                <a:spcPct val="0"/>
              </a:spcAft>
              <a:buClr>
                <a:srgbClr val="000000"/>
              </a:buClr>
              <a:buSzPct val="100000"/>
              <a:buFont typeface="Times New Roman" charset="0"/>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7pPr>
            <a:lvl8pPr marL="3429000" indent="-228600" algn="r" eaLnBrk="0" fontAlgn="base" hangingPunct="0">
              <a:spcBef>
                <a:spcPct val="0"/>
              </a:spcBef>
              <a:spcAft>
                <a:spcPct val="0"/>
              </a:spcAft>
              <a:buClr>
                <a:srgbClr val="000000"/>
              </a:buClr>
              <a:buSzPct val="100000"/>
              <a:buFont typeface="Times New Roman" charset="0"/>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8pPr>
            <a:lvl9pPr marL="3886200" indent="-228600" algn="r" eaLnBrk="0" fontAlgn="base" hangingPunct="0">
              <a:spcBef>
                <a:spcPct val="0"/>
              </a:spcBef>
              <a:spcAft>
                <a:spcPct val="0"/>
              </a:spcAft>
              <a:buClr>
                <a:srgbClr val="000000"/>
              </a:buClr>
              <a:buSzPct val="100000"/>
              <a:buFont typeface="Times New Roman" charset="0"/>
              <a:tabLst>
                <a:tab pos="331788" algn="l"/>
                <a:tab pos="788988" algn="l"/>
                <a:tab pos="1246188" algn="l"/>
                <a:tab pos="1703388" algn="l"/>
                <a:tab pos="2160588" algn="l"/>
                <a:tab pos="2617788" algn="l"/>
                <a:tab pos="3074988" algn="l"/>
                <a:tab pos="3532188" algn="l"/>
                <a:tab pos="3989388" algn="l"/>
                <a:tab pos="4446588" algn="l"/>
                <a:tab pos="4903788" algn="l"/>
                <a:tab pos="5360988" algn="l"/>
                <a:tab pos="5818188" algn="l"/>
                <a:tab pos="6275388" algn="l"/>
                <a:tab pos="6732588" algn="l"/>
                <a:tab pos="7189788" algn="l"/>
                <a:tab pos="7646988" algn="l"/>
                <a:tab pos="8104188" algn="l"/>
                <a:tab pos="8561388" algn="l"/>
                <a:tab pos="9018588" algn="l"/>
                <a:tab pos="9475788" algn="l"/>
              </a:tabLst>
              <a:defRPr sz="2000">
                <a:solidFill>
                  <a:srgbClr val="000000"/>
                </a:solidFill>
                <a:latin typeface="Arial" charset="0"/>
                <a:ea typeface="ＭＳ Ｐゴシック" charset="0"/>
              </a:defRPr>
            </a:lvl9pPr>
          </a:lstStyle>
          <a:p>
            <a:pPr algn="l">
              <a:spcBef>
                <a:spcPts val="400"/>
              </a:spcBef>
              <a:buClr>
                <a:srgbClr val="00CC99"/>
              </a:buClr>
              <a:buFont typeface="Arial" charset="0"/>
              <a:buNone/>
            </a:pPr>
            <a:r>
              <a:rPr lang="en-US" sz="1800" dirty="0" smtClean="0">
                <a:solidFill>
                  <a:srgbClr val="4D4D4D"/>
                </a:solidFill>
              </a:rPr>
              <a:t>Novel Technology gives the Significant Improvement in Effective Diagnostic </a:t>
            </a:r>
          </a:p>
          <a:p>
            <a:pPr algn="l">
              <a:spcBef>
                <a:spcPts val="400"/>
              </a:spcBef>
              <a:buClr>
                <a:srgbClr val="00CC99"/>
              </a:buClr>
              <a:buFont typeface="Arial" charset="0"/>
              <a:buNone/>
            </a:pPr>
            <a:r>
              <a:rPr lang="en-US" sz="1800" dirty="0">
                <a:solidFill>
                  <a:srgbClr val="4D4D4D"/>
                </a:solidFill>
              </a:rPr>
              <a:t>o</a:t>
            </a:r>
            <a:r>
              <a:rPr lang="en-US" sz="1800" dirty="0" smtClean="0">
                <a:solidFill>
                  <a:srgbClr val="4D4D4D"/>
                </a:solidFill>
              </a:rPr>
              <a:t>f Most dangerous Disease - Oncology</a:t>
            </a:r>
            <a:endParaRPr lang="en-US" sz="1800" dirty="0">
              <a:solidFill>
                <a:schemeClr val="bg1"/>
              </a:solidFill>
            </a:endParaRPr>
          </a:p>
        </p:txBody>
      </p:sp>
      <p:sp>
        <p:nvSpPr>
          <p:cNvPr id="68624" name="Text Box 16"/>
          <p:cNvSpPr txBox="1">
            <a:spLocks noChangeArrowheads="1"/>
          </p:cNvSpPr>
          <p:nvPr/>
        </p:nvSpPr>
        <p:spPr bwMode="auto">
          <a:xfrm>
            <a:off x="1524000" y="800100"/>
            <a:ext cx="296747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a:defRPr sz="2000">
                <a:solidFill>
                  <a:srgbClr val="000000"/>
                </a:solidFill>
                <a:latin typeface="Arial" charset="0"/>
                <a:ea typeface="ＭＳ Ｐゴシック" charset="0"/>
              </a:defRPr>
            </a:lvl1pPr>
            <a:lvl2pPr marL="457200">
              <a:defRPr sz="2000">
                <a:solidFill>
                  <a:srgbClr val="000000"/>
                </a:solidFill>
                <a:latin typeface="Arial" charset="0"/>
                <a:ea typeface="ＭＳ Ｐゴシック" charset="0"/>
              </a:defRPr>
            </a:lvl2pPr>
            <a:lvl3pPr marL="914400">
              <a:defRPr sz="2000">
                <a:solidFill>
                  <a:srgbClr val="000000"/>
                </a:solidFill>
                <a:latin typeface="Arial" charset="0"/>
                <a:ea typeface="ＭＳ Ｐゴシック" charset="0"/>
              </a:defRPr>
            </a:lvl3pPr>
            <a:lvl4pPr marL="1371600">
              <a:defRPr sz="2000">
                <a:solidFill>
                  <a:srgbClr val="000000"/>
                </a:solidFill>
                <a:latin typeface="Arial" charset="0"/>
                <a:ea typeface="ＭＳ Ｐゴシック" charset="0"/>
              </a:defRPr>
            </a:lvl4pPr>
            <a:lvl5pPr marL="1828800">
              <a:defRPr sz="2000">
                <a:solidFill>
                  <a:srgbClr val="000000"/>
                </a:solidFill>
                <a:latin typeface="Arial" charset="0"/>
                <a:ea typeface="ＭＳ Ｐゴシック" charset="0"/>
              </a:defRPr>
            </a:lvl5pPr>
            <a:lvl6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6pPr>
            <a:lvl7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7pPr>
            <a:lvl8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8pPr>
            <a:lvl9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9pPr>
          </a:lstStyle>
          <a:p>
            <a:pPr algn="l" defTabSz="914400">
              <a:buClrTx/>
              <a:buSzTx/>
              <a:buFontTx/>
              <a:buNone/>
            </a:pPr>
            <a:r>
              <a:rPr lang="en-US" sz="1800" dirty="0">
                <a:solidFill>
                  <a:schemeClr val="bg1"/>
                </a:solidFill>
              </a:rPr>
              <a:t>Functional Diagnostic: PET</a:t>
            </a:r>
          </a:p>
        </p:txBody>
      </p:sp>
      <p:sp>
        <p:nvSpPr>
          <p:cNvPr id="2" name="Title 1"/>
          <p:cNvSpPr>
            <a:spLocks noGrp="1"/>
          </p:cNvSpPr>
          <p:nvPr>
            <p:ph type="title"/>
          </p:nvPr>
        </p:nvSpPr>
        <p:spPr/>
        <p:txBody>
          <a:bodyPr/>
          <a:lstStyle/>
          <a:p>
            <a:r>
              <a:rPr lang="en-US" sz="2400" dirty="0" smtClean="0"/>
              <a:t>Medical Visual Diagnostic System - PET</a:t>
            </a:r>
            <a:endParaRPr lang="en-US" sz="2400" dirty="0"/>
          </a:p>
        </p:txBody>
      </p:sp>
    </p:spTree>
    <p:extLst>
      <p:ext uri="{BB962C8B-B14F-4D97-AF65-F5344CB8AC3E}">
        <p14:creationId xmlns:p14="http://schemas.microsoft.com/office/powerpoint/2010/main" val="380105934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23528" y="195486"/>
            <a:ext cx="6023048" cy="544512"/>
          </a:xfrm>
          <a:prstGeom prst="rect">
            <a:avLst/>
          </a:prstGeom>
        </p:spPr>
        <p:txBody>
          <a:bodyPr/>
          <a:lst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a:lstStyle>
          <a:p>
            <a:r>
              <a:rPr lang="en-US" sz="2400" dirty="0" smtClean="0">
                <a:solidFill>
                  <a:schemeClr val="accent1"/>
                </a:solidFill>
              </a:rPr>
              <a:t>Novel Detection Technology </a:t>
            </a:r>
            <a:endParaRPr lang="en-US" sz="2400" dirty="0">
              <a:solidFill>
                <a:schemeClr val="accent1"/>
              </a:solidFill>
            </a:endParaRPr>
          </a:p>
        </p:txBody>
      </p:sp>
      <p:sp>
        <p:nvSpPr>
          <p:cNvPr id="3" name="Rectangle 3"/>
          <p:cNvSpPr txBox="1">
            <a:spLocks noChangeArrowheads="1"/>
          </p:cNvSpPr>
          <p:nvPr/>
        </p:nvSpPr>
        <p:spPr bwMode="auto">
          <a:xfrm>
            <a:off x="323528" y="699542"/>
            <a:ext cx="8348193"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spcAft>
                <a:spcPts val="0"/>
              </a:spcAft>
              <a:buNone/>
            </a:pPr>
            <a:r>
              <a:rPr lang="en-US" sz="1800" dirty="0" smtClean="0">
                <a:solidFill>
                  <a:srgbClr val="C00000"/>
                </a:solidFill>
                <a:ea typeface="微软雅黑" pitchFamily="34" charset="-122"/>
              </a:rPr>
              <a:t>Silicon Photomultiplier</a:t>
            </a:r>
            <a:r>
              <a:rPr lang="en-US" sz="1800" dirty="0">
                <a:solidFill>
                  <a:srgbClr val="C00000"/>
                </a:solidFill>
                <a:ea typeface="微软雅黑" pitchFamily="34" charset="-122"/>
              </a:rPr>
              <a:t> </a:t>
            </a:r>
            <a:r>
              <a:rPr lang="en-US" altLang="zh-CN" sz="1800" dirty="0" smtClean="0">
                <a:solidFill>
                  <a:srgbClr val="C00000"/>
                </a:solidFill>
                <a:ea typeface="微软雅黑" pitchFamily="34" charset="-122"/>
              </a:rPr>
              <a:t>for the Extremely Low Photon Flux Detection</a:t>
            </a:r>
            <a:endParaRPr lang="en-US" sz="1800" dirty="0" smtClean="0">
              <a:solidFill>
                <a:srgbClr val="C00000"/>
              </a:solidFill>
              <a:ea typeface="微软雅黑" pitchFamily="34" charset="-122"/>
            </a:endParaRPr>
          </a:p>
        </p:txBody>
      </p:sp>
      <p:pic>
        <p:nvPicPr>
          <p:cNvPr id="4"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1640" y="1491630"/>
            <a:ext cx="1368152" cy="201063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952" y="1419622"/>
            <a:ext cx="3063167" cy="225666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6" name="Rectangle 3"/>
          <p:cNvSpPr txBox="1">
            <a:spLocks noChangeArrowheads="1"/>
          </p:cNvSpPr>
          <p:nvPr/>
        </p:nvSpPr>
        <p:spPr bwMode="auto">
          <a:xfrm>
            <a:off x="395536" y="3795886"/>
            <a:ext cx="3830656" cy="620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spcAft>
                <a:spcPts val="0"/>
              </a:spcAft>
              <a:buNone/>
            </a:pPr>
            <a:r>
              <a:rPr lang="en-US" sz="1400" dirty="0" smtClean="0"/>
              <a:t>First Silicon Photomultiplier </a:t>
            </a:r>
          </a:p>
          <a:p>
            <a:pPr marL="0" indent="0">
              <a:spcAft>
                <a:spcPts val="0"/>
              </a:spcAft>
              <a:buNone/>
            </a:pPr>
            <a:r>
              <a:rPr lang="en-US" sz="1400" dirty="0" smtClean="0"/>
              <a:t>(Metal Resistor Semiconductor Structures) </a:t>
            </a:r>
          </a:p>
        </p:txBody>
      </p:sp>
      <p:sp>
        <p:nvSpPr>
          <p:cNvPr id="7" name="Rectangle 3"/>
          <p:cNvSpPr txBox="1">
            <a:spLocks noChangeArrowheads="1"/>
          </p:cNvSpPr>
          <p:nvPr/>
        </p:nvSpPr>
        <p:spPr bwMode="auto">
          <a:xfrm>
            <a:off x="4283968" y="3795886"/>
            <a:ext cx="4606145" cy="446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spcAft>
                <a:spcPts val="0"/>
              </a:spcAft>
              <a:buNone/>
            </a:pPr>
            <a:r>
              <a:rPr lang="en-US" sz="1400" dirty="0" smtClean="0"/>
              <a:t>First Evidence of the Single Photon Detection Capability</a:t>
            </a:r>
          </a:p>
        </p:txBody>
      </p:sp>
      <p:sp>
        <p:nvSpPr>
          <p:cNvPr id="8" name="Rectangle 3"/>
          <p:cNvSpPr txBox="1">
            <a:spLocks noChangeArrowheads="1"/>
          </p:cNvSpPr>
          <p:nvPr/>
        </p:nvSpPr>
        <p:spPr bwMode="auto">
          <a:xfrm>
            <a:off x="611560" y="4371950"/>
            <a:ext cx="8136904"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nSpc>
                <a:spcPts val="1600"/>
              </a:lnSpc>
              <a:buNone/>
            </a:pPr>
            <a:r>
              <a:rPr lang="en-US" sz="1600" dirty="0" smtClean="0">
                <a:solidFill>
                  <a:srgbClr val="C00000"/>
                </a:solidFill>
                <a:cs typeface="Arial" pitchFamily="34" charset="0"/>
              </a:rPr>
              <a:t>Modern Technology is basis for the Novel Medical Visual Diagnostic System </a:t>
            </a:r>
          </a:p>
          <a:p>
            <a:pPr>
              <a:lnSpc>
                <a:spcPts val="1600"/>
              </a:lnSpc>
            </a:pPr>
            <a:endParaRPr lang="en-US" dirty="0">
              <a:solidFill>
                <a:srgbClr val="C00000"/>
              </a:solidFill>
            </a:endParaRPr>
          </a:p>
          <a:p>
            <a:pPr>
              <a:lnSpc>
                <a:spcPts val="1600"/>
              </a:lnSpc>
            </a:pPr>
            <a:endParaRPr lang="en-US" dirty="0" smtClean="0">
              <a:solidFill>
                <a:srgbClr val="C00000"/>
              </a:solidFill>
            </a:endParaRPr>
          </a:p>
          <a:p>
            <a:pPr>
              <a:lnSpc>
                <a:spcPts val="1600"/>
              </a:lnSpc>
            </a:pPr>
            <a:endParaRPr lang="en-US" dirty="0" smtClean="0">
              <a:solidFill>
                <a:srgbClr val="C00000"/>
              </a:solidFill>
            </a:endParaRPr>
          </a:p>
        </p:txBody>
      </p:sp>
    </p:spTree>
    <p:extLst>
      <p:ext uri="{BB962C8B-B14F-4D97-AF65-F5344CB8AC3E}">
        <p14:creationId xmlns:p14="http://schemas.microsoft.com/office/powerpoint/2010/main" val="2769695828"/>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425015" y="699542"/>
            <a:ext cx="8348193"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nSpc>
                <a:spcPct val="80000"/>
              </a:lnSpc>
              <a:buNone/>
            </a:pPr>
            <a:endParaRPr lang="en-US" sz="1800" dirty="0" smtClean="0"/>
          </a:p>
          <a:p>
            <a:pPr>
              <a:lnSpc>
                <a:spcPct val="80000"/>
              </a:lnSpc>
            </a:pPr>
            <a:r>
              <a:rPr lang="en-US" sz="1800" dirty="0" smtClean="0"/>
              <a:t>2015 - 100 Talents Program for China, Hubei Province;</a:t>
            </a:r>
            <a:endParaRPr lang="en-US" sz="1800" dirty="0" smtClean="0">
              <a:latin typeface="微软雅黑" pitchFamily="34" charset="-122"/>
              <a:ea typeface="微软雅黑" pitchFamily="34" charset="-122"/>
            </a:endParaRPr>
          </a:p>
          <a:p>
            <a:pPr>
              <a:lnSpc>
                <a:spcPct val="80000"/>
              </a:lnSpc>
            </a:pPr>
            <a:r>
              <a:rPr lang="en-US" altLang="zh-CN" sz="1800" dirty="0" smtClean="0"/>
              <a:t>2016 – 1000 Talent Program for China;</a:t>
            </a:r>
            <a:endParaRPr lang="en-US" altLang="zh-CN" sz="1800" dirty="0">
              <a:latin typeface="微软雅黑" pitchFamily="34" charset="-122"/>
              <a:ea typeface="微软雅黑" pitchFamily="34" charset="-122"/>
            </a:endParaRPr>
          </a:p>
          <a:p>
            <a:pPr>
              <a:lnSpc>
                <a:spcPct val="80000"/>
              </a:lnSpc>
            </a:pPr>
            <a:r>
              <a:rPr lang="en-US" sz="1800" dirty="0" smtClean="0"/>
              <a:t>2017 – SAFEA Expert,  </a:t>
            </a:r>
            <a:r>
              <a:rPr lang="en-US" altLang="zh-CN" sz="1800" dirty="0" smtClean="0"/>
              <a:t>the Foreign Expert Consultation Meeting;</a:t>
            </a:r>
          </a:p>
          <a:p>
            <a:pPr>
              <a:lnSpc>
                <a:spcPct val="80000"/>
              </a:lnSpc>
            </a:pPr>
            <a:r>
              <a:rPr lang="en-US" altLang="zh-CN" sz="1800" dirty="0" smtClean="0"/>
              <a:t>2018 </a:t>
            </a:r>
            <a:r>
              <a:rPr lang="mr-IN" altLang="zh-CN" sz="1800" dirty="0" smtClean="0"/>
              <a:t>–</a:t>
            </a:r>
            <a:r>
              <a:rPr lang="en-US" altLang="zh-CN" sz="1800" dirty="0" smtClean="0"/>
              <a:t> National Friendship Award;</a:t>
            </a:r>
          </a:p>
        </p:txBody>
      </p:sp>
      <p:sp>
        <p:nvSpPr>
          <p:cNvPr id="3" name="Rectangle 2"/>
          <p:cNvSpPr txBox="1">
            <a:spLocks noChangeArrowheads="1"/>
          </p:cNvSpPr>
          <p:nvPr/>
        </p:nvSpPr>
        <p:spPr>
          <a:xfrm>
            <a:off x="323528" y="195486"/>
            <a:ext cx="8496944" cy="544512"/>
          </a:xfrm>
          <a:prstGeom prst="rect">
            <a:avLst/>
          </a:prstGeom>
        </p:spPr>
        <p:txBody>
          <a:bodyPr/>
          <a:lstStyle>
            <a:defPPr>
              <a:defRPr lang="en-US"/>
            </a:defPPr>
            <a:lvl1pPr eaLnBrk="1" hangingPunct="1">
              <a:defRPr sz="2800" b="0">
                <a:solidFill>
                  <a:schemeClr val="accent1"/>
                </a:solidFill>
                <a:latin typeface="微软雅黑" pitchFamily="34" charset="-122"/>
                <a:ea typeface="微软雅黑" pitchFamily="34" charset="-122"/>
                <a:cs typeface="Arial"/>
              </a:defRPr>
            </a:lvl1pPr>
            <a:lvl2pPr eaLnBrk="1" hangingPunct="1">
              <a:defRPr sz="4400"/>
            </a:lvl2pPr>
            <a:lvl3pPr eaLnBrk="1" hangingPunct="1">
              <a:defRPr sz="4400"/>
            </a:lvl3pPr>
            <a:lvl4pPr eaLnBrk="1" hangingPunct="1">
              <a:defRPr sz="4400"/>
            </a:lvl4pPr>
            <a:lvl5pPr eaLnBrk="1" hangingPunct="1">
              <a:defRPr sz="4400"/>
            </a:lvl5pPr>
            <a:lvl6pPr marL="457200" algn="ctr" fontAlgn="base">
              <a:spcBef>
                <a:spcPct val="0"/>
              </a:spcBef>
              <a:spcAft>
                <a:spcPct val="0"/>
              </a:spcAft>
              <a:defRPr sz="4400">
                <a:solidFill>
                  <a:schemeClr val="accent1"/>
                </a:solidFill>
                <a:latin typeface="Calibri" charset="0"/>
              </a:defRPr>
            </a:lvl6pPr>
            <a:lvl7pPr marL="914400" algn="ctr" fontAlgn="base">
              <a:spcBef>
                <a:spcPct val="0"/>
              </a:spcBef>
              <a:spcAft>
                <a:spcPct val="0"/>
              </a:spcAft>
              <a:defRPr sz="4400">
                <a:solidFill>
                  <a:schemeClr val="accent1"/>
                </a:solidFill>
                <a:latin typeface="Calibri" charset="0"/>
              </a:defRPr>
            </a:lvl7pPr>
            <a:lvl8pPr marL="1371600" algn="ctr" fontAlgn="base">
              <a:spcBef>
                <a:spcPct val="0"/>
              </a:spcBef>
              <a:spcAft>
                <a:spcPct val="0"/>
              </a:spcAft>
              <a:defRPr sz="4400">
                <a:solidFill>
                  <a:schemeClr val="accent1"/>
                </a:solidFill>
                <a:latin typeface="Calibri" charset="0"/>
              </a:defRPr>
            </a:lvl8pPr>
            <a:lvl9pPr marL="1828800" algn="ctr" fontAlgn="base">
              <a:spcBef>
                <a:spcPct val="0"/>
              </a:spcBef>
              <a:spcAft>
                <a:spcPct val="0"/>
              </a:spcAft>
              <a:defRPr sz="4400">
                <a:solidFill>
                  <a:schemeClr val="accent1"/>
                </a:solidFill>
                <a:latin typeface="Calibri" charset="0"/>
              </a:defRPr>
            </a:lvl9pPr>
          </a:lstStyle>
          <a:p>
            <a:r>
              <a:rPr lang="en-US" altLang="zh-CN" sz="2400" dirty="0" smtClean="0"/>
              <a:t>China is Great </a:t>
            </a:r>
            <a:r>
              <a:rPr lang="en-US" altLang="zh-CN" sz="2400" dirty="0" smtClean="0"/>
              <a:t>O</a:t>
            </a:r>
            <a:r>
              <a:rPr lang="en-US" altLang="zh-CN" sz="2400" dirty="0" smtClean="0"/>
              <a:t>pportunity for Progress </a:t>
            </a:r>
            <a:endParaRPr lang="en-US" sz="2400" dirty="0"/>
          </a:p>
        </p:txBody>
      </p:sp>
    </p:spTree>
    <p:extLst>
      <p:ext uri="{BB962C8B-B14F-4D97-AF65-F5344CB8AC3E}">
        <p14:creationId xmlns:p14="http://schemas.microsoft.com/office/powerpoint/2010/main" val="191452632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395536" y="699542"/>
            <a:ext cx="8348193"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nSpc>
                <a:spcPct val="80000"/>
              </a:lnSpc>
              <a:buNone/>
            </a:pPr>
            <a:r>
              <a:rPr lang="en-US" altLang="zh-CN" sz="1800" dirty="0" smtClean="0"/>
              <a:t>Foreign Expert Consultation Meeting</a:t>
            </a:r>
          </a:p>
        </p:txBody>
      </p:sp>
      <p:sp>
        <p:nvSpPr>
          <p:cNvPr id="3" name="Rectangle 2"/>
          <p:cNvSpPr txBox="1">
            <a:spLocks noChangeArrowheads="1"/>
          </p:cNvSpPr>
          <p:nvPr/>
        </p:nvSpPr>
        <p:spPr>
          <a:xfrm>
            <a:off x="323528" y="195486"/>
            <a:ext cx="8496944" cy="544512"/>
          </a:xfrm>
          <a:prstGeom prst="rect">
            <a:avLst/>
          </a:prstGeom>
        </p:spPr>
        <p:txBody>
          <a:bodyPr/>
          <a:lstStyle>
            <a:defPPr>
              <a:defRPr lang="en-US"/>
            </a:defPPr>
            <a:lvl1pPr eaLnBrk="1" hangingPunct="1">
              <a:defRPr sz="2800" b="0">
                <a:solidFill>
                  <a:schemeClr val="accent1"/>
                </a:solidFill>
                <a:latin typeface="微软雅黑" pitchFamily="34" charset="-122"/>
                <a:ea typeface="微软雅黑" pitchFamily="34" charset="-122"/>
                <a:cs typeface="Arial"/>
              </a:defRPr>
            </a:lvl1pPr>
            <a:lvl2pPr eaLnBrk="1" hangingPunct="1">
              <a:defRPr sz="4400"/>
            </a:lvl2pPr>
            <a:lvl3pPr eaLnBrk="1" hangingPunct="1">
              <a:defRPr sz="4400"/>
            </a:lvl3pPr>
            <a:lvl4pPr eaLnBrk="1" hangingPunct="1">
              <a:defRPr sz="4400"/>
            </a:lvl4pPr>
            <a:lvl5pPr eaLnBrk="1" hangingPunct="1">
              <a:defRPr sz="4400"/>
            </a:lvl5pPr>
            <a:lvl6pPr marL="457200" algn="ctr" fontAlgn="base">
              <a:spcBef>
                <a:spcPct val="0"/>
              </a:spcBef>
              <a:spcAft>
                <a:spcPct val="0"/>
              </a:spcAft>
              <a:defRPr sz="4400">
                <a:solidFill>
                  <a:schemeClr val="accent1"/>
                </a:solidFill>
                <a:latin typeface="Calibri" charset="0"/>
              </a:defRPr>
            </a:lvl6pPr>
            <a:lvl7pPr marL="914400" algn="ctr" fontAlgn="base">
              <a:spcBef>
                <a:spcPct val="0"/>
              </a:spcBef>
              <a:spcAft>
                <a:spcPct val="0"/>
              </a:spcAft>
              <a:defRPr sz="4400">
                <a:solidFill>
                  <a:schemeClr val="accent1"/>
                </a:solidFill>
                <a:latin typeface="Calibri" charset="0"/>
              </a:defRPr>
            </a:lvl7pPr>
            <a:lvl8pPr marL="1371600" algn="ctr" fontAlgn="base">
              <a:spcBef>
                <a:spcPct val="0"/>
              </a:spcBef>
              <a:spcAft>
                <a:spcPct val="0"/>
              </a:spcAft>
              <a:defRPr sz="4400">
                <a:solidFill>
                  <a:schemeClr val="accent1"/>
                </a:solidFill>
                <a:latin typeface="Calibri" charset="0"/>
              </a:defRPr>
            </a:lvl8pPr>
            <a:lvl9pPr marL="1828800" algn="ctr" fontAlgn="base">
              <a:spcBef>
                <a:spcPct val="0"/>
              </a:spcBef>
              <a:spcAft>
                <a:spcPct val="0"/>
              </a:spcAft>
              <a:defRPr sz="4400">
                <a:solidFill>
                  <a:schemeClr val="accent1"/>
                </a:solidFill>
                <a:latin typeface="Calibri" charset="0"/>
              </a:defRPr>
            </a:lvl9pPr>
          </a:lstStyle>
          <a:p>
            <a:r>
              <a:rPr lang="en-US" altLang="zh-CN" sz="2400" dirty="0" smtClean="0"/>
              <a:t>China Achievements:</a:t>
            </a:r>
            <a:endParaRPr lang="en-US" sz="2400" dirty="0"/>
          </a:p>
        </p:txBody>
      </p:sp>
      <p:pic>
        <p:nvPicPr>
          <p:cNvPr id="4" name="Picture 3" descr="bc305bb3be2a19f001da06.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9992" y="1203598"/>
            <a:ext cx="4292534" cy="2859898"/>
          </a:xfrm>
          <a:prstGeom prst="rect">
            <a:avLst/>
          </a:prstGeom>
        </p:spPr>
      </p:pic>
      <p:pic>
        <p:nvPicPr>
          <p:cNvPr id="7" name="Picture 6" descr="bc305bb3be2a19f001d405.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12" y="1203598"/>
            <a:ext cx="4071126" cy="2880320"/>
          </a:xfrm>
          <a:prstGeom prst="rect">
            <a:avLst/>
          </a:prstGeom>
        </p:spPr>
      </p:pic>
    </p:spTree>
    <p:extLst>
      <p:ext uri="{BB962C8B-B14F-4D97-AF65-F5344CB8AC3E}">
        <p14:creationId xmlns:p14="http://schemas.microsoft.com/office/powerpoint/2010/main" val="1148103898"/>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Text Box 2"/>
          <p:cNvSpPr txBox="1">
            <a:spLocks noChangeArrowheads="1"/>
          </p:cNvSpPr>
          <p:nvPr/>
        </p:nvSpPr>
        <p:spPr bwMode="auto">
          <a:xfrm>
            <a:off x="107504" y="3003798"/>
            <a:ext cx="8893175" cy="11678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5pPr>
            <a:lvl6pPr marL="2514600" indent="-228600" algn="r" eaLnBrk="0" fontAlgn="base" hangingPunct="0">
              <a:spcBef>
                <a:spcPct val="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6pPr>
            <a:lvl7pPr marL="2971800" indent="-228600" algn="r" eaLnBrk="0" fontAlgn="base" hangingPunct="0">
              <a:spcBef>
                <a:spcPct val="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7pPr>
            <a:lvl8pPr marL="3429000" indent="-228600" algn="r" eaLnBrk="0" fontAlgn="base" hangingPunct="0">
              <a:spcBef>
                <a:spcPct val="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8pPr>
            <a:lvl9pPr marL="3886200" indent="-228600" algn="r" eaLnBrk="0" fontAlgn="base" hangingPunct="0">
              <a:spcBef>
                <a:spcPct val="0"/>
              </a:spcBef>
              <a:spcAft>
                <a:spcPct val="0"/>
              </a:spcAft>
              <a:buClr>
                <a:srgbClr val="000000"/>
              </a:buClr>
              <a:buSzPct val="100000"/>
              <a:buFont typeface="Times New Roman"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rgbClr val="000000"/>
                </a:solidFill>
                <a:latin typeface="Arial" charset="0"/>
                <a:ea typeface="ＭＳ Ｐゴシック" charset="0"/>
              </a:defRPr>
            </a:lvl9pPr>
          </a:lstStyle>
          <a:p>
            <a:pPr>
              <a:buClrTx/>
              <a:buFontTx/>
              <a:buNone/>
            </a:pPr>
            <a:r>
              <a:rPr lang="en-US" sz="2400" dirty="0" smtClean="0">
                <a:solidFill>
                  <a:srgbClr val="FF0000"/>
                </a:solidFill>
              </a:rPr>
              <a:t>Theory with Implementation in to Applications </a:t>
            </a:r>
          </a:p>
          <a:p>
            <a:pPr>
              <a:buClrTx/>
              <a:buFontTx/>
              <a:buNone/>
            </a:pPr>
            <a:r>
              <a:rPr lang="en-US" sz="2400" dirty="0">
                <a:solidFill>
                  <a:srgbClr val="FF0000"/>
                </a:solidFill>
              </a:rPr>
              <a:t>i</a:t>
            </a:r>
            <a:r>
              <a:rPr lang="en-US" sz="2400" dirty="0" smtClean="0">
                <a:solidFill>
                  <a:srgbClr val="FF0000"/>
                </a:solidFill>
              </a:rPr>
              <a:t>s Way </a:t>
            </a:r>
            <a:r>
              <a:rPr lang="en-US" sz="2400" dirty="0" smtClean="0">
                <a:solidFill>
                  <a:srgbClr val="FF0000"/>
                </a:solidFill>
              </a:rPr>
              <a:t>of make the Progress in the Most Important Areas of Human Life !</a:t>
            </a:r>
            <a:endParaRPr lang="en-US" sz="2400" dirty="0">
              <a:solidFill>
                <a:srgbClr val="FF0000"/>
              </a:solidFill>
            </a:endParaRPr>
          </a:p>
        </p:txBody>
      </p:sp>
    </p:spTree>
    <p:extLst>
      <p:ext uri="{BB962C8B-B14F-4D97-AF65-F5344CB8AC3E}">
        <p14:creationId xmlns:p14="http://schemas.microsoft.com/office/powerpoint/2010/main" val="410744664"/>
      </p:ext>
    </p:extLst>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7504" y="2949792"/>
            <a:ext cx="8856984" cy="990110"/>
          </a:xfrm>
        </p:spPr>
        <p:txBody>
          <a:bodyPr/>
          <a:lstStyle/>
          <a:p>
            <a:r>
              <a:rPr lang="en-US" sz="2400" dirty="0" smtClean="0">
                <a:solidFill>
                  <a:srgbClr val="FF0000"/>
                </a:solidFill>
              </a:rPr>
              <a:t>FUNDAMENTAL STUDY</a:t>
            </a:r>
            <a:r>
              <a:rPr lang="en-US" sz="2400" dirty="0" smtClean="0"/>
              <a:t/>
            </a:r>
            <a:br>
              <a:rPr lang="en-US" sz="2400" dirty="0" smtClean="0"/>
            </a:br>
            <a:r>
              <a:rPr lang="en-US" sz="2400" dirty="0" smtClean="0"/>
              <a:t>to </a:t>
            </a:r>
            <a:r>
              <a:rPr lang="en-US" sz="2400" dirty="0" smtClean="0">
                <a:solidFill>
                  <a:srgbClr val="FF0000"/>
                </a:solidFill>
              </a:rPr>
              <a:t>INNOVATION APPLICATION TECHNOLOGIES</a:t>
            </a:r>
            <a:endParaRPr lang="en-US" sz="2400" dirty="0">
              <a:solidFill>
                <a:srgbClr val="FF0000"/>
              </a:solidFill>
            </a:endParaRPr>
          </a:p>
        </p:txBody>
      </p:sp>
    </p:spTree>
    <p:extLst>
      <p:ext uri="{BB962C8B-B14F-4D97-AF65-F5344CB8AC3E}">
        <p14:creationId xmlns:p14="http://schemas.microsoft.com/office/powerpoint/2010/main" val="154755837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107504" y="2949792"/>
            <a:ext cx="4536504" cy="536165"/>
          </a:xfrm>
        </p:spPr>
        <p:txBody>
          <a:bodyPr/>
          <a:lstStyle/>
          <a:p>
            <a:r>
              <a:rPr lang="zh-CN" altLang="en-US" sz="2800" b="1" dirty="0">
                <a:solidFill>
                  <a:srgbClr val="0070C0"/>
                </a:solidFill>
              </a:rPr>
              <a:t/>
            </a:r>
            <a:br>
              <a:rPr lang="zh-CN" altLang="en-US" sz="2800" b="1" dirty="0">
                <a:solidFill>
                  <a:srgbClr val="0070C0"/>
                </a:solidFill>
              </a:rPr>
            </a:br>
            <a:r>
              <a:rPr lang="en-US" altLang="zh-CN" sz="2800" b="1" dirty="0" smtClean="0">
                <a:solidFill>
                  <a:srgbClr val="0070C0"/>
                </a:solidFill>
              </a:rPr>
              <a:t/>
            </a:r>
            <a:br>
              <a:rPr lang="en-US" altLang="zh-CN" sz="2800" b="1" dirty="0" smtClean="0">
                <a:solidFill>
                  <a:srgbClr val="0070C0"/>
                </a:solidFill>
              </a:rPr>
            </a:br>
            <a:endParaRPr lang="zh-CN" altLang="en-US" sz="2800" b="1" dirty="0">
              <a:solidFill>
                <a:srgbClr val="0070C0"/>
              </a:solidFill>
            </a:endParaRPr>
          </a:p>
        </p:txBody>
      </p:sp>
      <p:sp>
        <p:nvSpPr>
          <p:cNvPr id="8" name="标题 1"/>
          <p:cNvSpPr txBox="1">
            <a:spLocks/>
          </p:cNvSpPr>
          <p:nvPr/>
        </p:nvSpPr>
        <p:spPr>
          <a:xfrm>
            <a:off x="179512" y="2859782"/>
            <a:ext cx="8856984" cy="1656184"/>
          </a:xfrm>
          <a:prstGeom prst="rect">
            <a:avLst/>
          </a:prstGeom>
        </p:spPr>
        <p:txBody>
          <a:bodyPr/>
          <a:lstStyle>
            <a:lvl1pPr algn="l" defTabSz="914400" rtl="0" eaLnBrk="1" latinLnBrk="0" hangingPunct="1">
              <a:spcBef>
                <a:spcPct val="0"/>
              </a:spcBef>
              <a:buNone/>
              <a:defRPr sz="3200" kern="1200">
                <a:solidFill>
                  <a:schemeClr val="accent1"/>
                </a:solidFill>
                <a:latin typeface="微软雅黑" pitchFamily="34" charset="-122"/>
                <a:ea typeface="微软雅黑" pitchFamily="34" charset="-122"/>
                <a:cs typeface="+mj-cs"/>
              </a:defRPr>
            </a:lvl1pPr>
          </a:lstStyle>
          <a:p>
            <a:r>
              <a:rPr lang="en-US" altLang="zh-CN" sz="1800" dirty="0" smtClean="0">
                <a:solidFill>
                  <a:schemeClr val="bg1">
                    <a:lumMod val="50000"/>
                  </a:schemeClr>
                </a:solidFill>
              </a:rPr>
              <a:t>Institute of Applied Mathematics, Russian Academy of Sciences, Moscow, Russia,</a:t>
            </a:r>
          </a:p>
          <a:p>
            <a:r>
              <a:rPr lang="en-US" altLang="zh-CN" sz="1800" dirty="0" err="1" smtClean="0">
                <a:solidFill>
                  <a:schemeClr val="bg1">
                    <a:lumMod val="50000"/>
                  </a:schemeClr>
                </a:solidFill>
              </a:rPr>
              <a:t>Lomonosov</a:t>
            </a:r>
            <a:r>
              <a:rPr lang="en-US" altLang="zh-CN" sz="1800" dirty="0" smtClean="0">
                <a:solidFill>
                  <a:schemeClr val="bg1">
                    <a:lumMod val="50000"/>
                  </a:schemeClr>
                </a:solidFill>
              </a:rPr>
              <a:t> State University, Moscow, Russia,</a:t>
            </a:r>
          </a:p>
          <a:p>
            <a:r>
              <a:rPr lang="en-US" altLang="zh-CN" sz="1800" dirty="0" smtClean="0">
                <a:solidFill>
                  <a:schemeClr val="bg1">
                    <a:lumMod val="50000"/>
                  </a:schemeClr>
                </a:solidFill>
              </a:rPr>
              <a:t>Immanuil Kant Baltic Federal University, Kaliningrad, Russia,</a:t>
            </a:r>
          </a:p>
          <a:p>
            <a:r>
              <a:rPr lang="en-US" altLang="zh-CN" sz="1800" dirty="0" smtClean="0">
                <a:solidFill>
                  <a:schemeClr val="bg1">
                    <a:lumMod val="50000"/>
                  </a:schemeClr>
                </a:solidFill>
              </a:rPr>
              <a:t> </a:t>
            </a:r>
          </a:p>
          <a:p>
            <a:r>
              <a:rPr lang="en-US" altLang="zh-CN" sz="1800" dirty="0" err="1" smtClean="0">
                <a:solidFill>
                  <a:schemeClr val="bg1">
                    <a:lumMod val="50000"/>
                  </a:schemeClr>
                </a:solidFill>
              </a:rPr>
              <a:t>Huazhong</a:t>
            </a:r>
            <a:r>
              <a:rPr lang="en-US" altLang="zh-CN" sz="1800" dirty="0" smtClean="0">
                <a:solidFill>
                  <a:schemeClr val="bg1">
                    <a:lumMod val="50000"/>
                  </a:schemeClr>
                </a:solidFill>
              </a:rPr>
              <a:t> University of Science and Technology, Wuhan, China</a:t>
            </a:r>
            <a:r>
              <a:rPr lang="zh-CN" altLang="en-US" sz="1800" dirty="0" smtClean="0">
                <a:solidFill>
                  <a:schemeClr val="bg1">
                    <a:lumMod val="50000"/>
                  </a:schemeClr>
                </a:solidFill>
              </a:rPr>
              <a:t/>
            </a:r>
            <a:br>
              <a:rPr lang="zh-CN" altLang="en-US" sz="1800" dirty="0" smtClean="0">
                <a:solidFill>
                  <a:schemeClr val="bg1">
                    <a:lumMod val="50000"/>
                  </a:schemeClr>
                </a:solidFill>
              </a:rPr>
            </a:br>
            <a:r>
              <a:rPr lang="en-US" altLang="zh-CN" sz="1800" dirty="0" smtClean="0">
                <a:solidFill>
                  <a:schemeClr val="bg1">
                    <a:lumMod val="50000"/>
                  </a:schemeClr>
                </a:solidFill>
              </a:rPr>
              <a:t/>
            </a:r>
            <a:br>
              <a:rPr lang="en-US" altLang="zh-CN" sz="1800" dirty="0" smtClean="0">
                <a:solidFill>
                  <a:schemeClr val="bg1">
                    <a:lumMod val="50000"/>
                  </a:schemeClr>
                </a:solidFill>
              </a:rPr>
            </a:br>
            <a:endParaRPr lang="zh-CN" altLang="en-US" sz="1800" dirty="0">
              <a:solidFill>
                <a:schemeClr val="bg1">
                  <a:lumMod val="50000"/>
                </a:schemeClr>
              </a:solidFill>
            </a:endParaRPr>
          </a:p>
        </p:txBody>
      </p:sp>
      <p:sp>
        <p:nvSpPr>
          <p:cNvPr id="9" name="标题 1"/>
          <p:cNvSpPr txBox="1">
            <a:spLocks/>
          </p:cNvSpPr>
          <p:nvPr/>
        </p:nvSpPr>
        <p:spPr>
          <a:xfrm>
            <a:off x="179512" y="1563638"/>
            <a:ext cx="8424936" cy="1224136"/>
          </a:xfrm>
          <a:prstGeom prst="rect">
            <a:avLst/>
          </a:prstGeom>
        </p:spPr>
        <p:txBody>
          <a:bodyPr/>
          <a:lstStyle>
            <a:lvl1pPr algn="l" defTabSz="914400" rtl="0" eaLnBrk="1" latinLnBrk="0" hangingPunct="1">
              <a:spcBef>
                <a:spcPct val="0"/>
              </a:spcBef>
              <a:buNone/>
              <a:defRPr sz="3200" kern="1200">
                <a:solidFill>
                  <a:schemeClr val="accent1"/>
                </a:solidFill>
                <a:latin typeface="微软雅黑" pitchFamily="34" charset="-122"/>
                <a:ea typeface="微软雅黑" pitchFamily="34" charset="-122"/>
                <a:cs typeface="+mj-cs"/>
              </a:defRPr>
            </a:lvl1pPr>
          </a:lstStyle>
          <a:p>
            <a:r>
              <a:rPr lang="en-US" altLang="zh-CN" sz="1800" dirty="0" smtClean="0">
                <a:solidFill>
                  <a:srgbClr val="0000FF"/>
                </a:solidFill>
              </a:rPr>
              <a:t>Prof. Dr. Valeri Saveliev </a:t>
            </a:r>
            <a:r>
              <a:rPr lang="mr-IN" altLang="zh-CN" sz="1800" dirty="0" smtClean="0">
                <a:solidFill>
                  <a:schemeClr val="bg1">
                    <a:lumMod val="50000"/>
                  </a:schemeClr>
                </a:solidFill>
              </a:rPr>
              <a:t>–</a:t>
            </a:r>
            <a:r>
              <a:rPr lang="en-US" altLang="zh-CN" sz="1800" dirty="0" smtClean="0">
                <a:solidFill>
                  <a:schemeClr val="bg1">
                    <a:lumMod val="50000"/>
                  </a:schemeClr>
                </a:solidFill>
              </a:rPr>
              <a:t> </a:t>
            </a:r>
          </a:p>
          <a:p>
            <a:r>
              <a:rPr lang="en-US" altLang="zh-CN" sz="1800" dirty="0" smtClean="0">
                <a:solidFill>
                  <a:schemeClr val="bg1">
                    <a:lumMod val="50000"/>
                  </a:schemeClr>
                </a:solidFill>
              </a:rPr>
              <a:t>Russian Physicist and Mathematician, </a:t>
            </a:r>
          </a:p>
          <a:p>
            <a:r>
              <a:rPr lang="en-US" altLang="zh-CN" sz="1800" dirty="0" smtClean="0">
                <a:solidFill>
                  <a:schemeClr val="bg1">
                    <a:lumMod val="50000"/>
                  </a:schemeClr>
                </a:solidFill>
              </a:rPr>
              <a:t>expert in the physics, mathematical modeling, data analysis, high performance computing systems.    </a:t>
            </a:r>
            <a:r>
              <a:rPr lang="zh-CN" altLang="en-US" sz="1800" b="1" dirty="0" smtClean="0">
                <a:solidFill>
                  <a:schemeClr val="bg1">
                    <a:lumMod val="50000"/>
                  </a:schemeClr>
                </a:solidFill>
              </a:rPr>
              <a:t/>
            </a:r>
            <a:br>
              <a:rPr lang="zh-CN" altLang="en-US" sz="1800" b="1" dirty="0" smtClean="0">
                <a:solidFill>
                  <a:schemeClr val="bg1">
                    <a:lumMod val="50000"/>
                  </a:schemeClr>
                </a:solidFill>
              </a:rPr>
            </a:br>
            <a:r>
              <a:rPr lang="en-US" altLang="zh-CN" sz="1800" b="1" dirty="0" smtClean="0">
                <a:solidFill>
                  <a:schemeClr val="bg1">
                    <a:lumMod val="50000"/>
                  </a:schemeClr>
                </a:solidFill>
              </a:rPr>
              <a:t/>
            </a:r>
            <a:br>
              <a:rPr lang="en-US" altLang="zh-CN" sz="1800" b="1" dirty="0" smtClean="0">
                <a:solidFill>
                  <a:schemeClr val="bg1">
                    <a:lumMod val="50000"/>
                  </a:schemeClr>
                </a:solidFill>
              </a:rPr>
            </a:br>
            <a:endParaRPr lang="zh-CN" altLang="en-US" sz="1800" b="1" dirty="0">
              <a:solidFill>
                <a:schemeClr val="bg1">
                  <a:lumMod val="50000"/>
                </a:schemeClr>
              </a:solidFill>
            </a:endParaRPr>
          </a:p>
        </p:txBody>
      </p:sp>
    </p:spTree>
    <p:extLst>
      <p:ext uri="{BB962C8B-B14F-4D97-AF65-F5344CB8AC3E}">
        <p14:creationId xmlns:p14="http://schemas.microsoft.com/office/powerpoint/2010/main" val="3848110683"/>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179512" y="924352"/>
            <a:ext cx="8496944" cy="2799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a:spcAft>
                <a:spcPts val="0"/>
              </a:spcAft>
            </a:pPr>
            <a:r>
              <a:rPr lang="en-US" sz="1800" dirty="0" smtClean="0">
                <a:ea typeface="微软雅黑" pitchFamily="34" charset="-122"/>
              </a:rPr>
              <a:t>Graduated of the National Research Nuclear University, former Moscow Physics and Engineering Institute, 1974</a:t>
            </a:r>
            <a:endParaRPr lang="en-US" altLang="zh-CN" sz="1800" dirty="0" smtClean="0">
              <a:ea typeface="微软雅黑" pitchFamily="34" charset="-122"/>
            </a:endParaRPr>
          </a:p>
          <a:p>
            <a:pPr marL="0" indent="0">
              <a:spcAft>
                <a:spcPts val="0"/>
              </a:spcAft>
              <a:buNone/>
            </a:pPr>
            <a:endParaRPr lang="en-US" sz="1800" dirty="0" smtClean="0">
              <a:ea typeface="微软雅黑" pitchFamily="34" charset="-122"/>
            </a:endParaRPr>
          </a:p>
          <a:p>
            <a:pPr>
              <a:spcAft>
                <a:spcPts val="0"/>
              </a:spcAft>
            </a:pPr>
            <a:r>
              <a:rPr lang="en-US" sz="1800" dirty="0" smtClean="0">
                <a:ea typeface="微软雅黑" pitchFamily="34" charset="-122"/>
              </a:rPr>
              <a:t>PhD scientific degree (Candidate of Sciences) in National Research Nuclear University, former Moscow Physics and Engineering Institute, 1978</a:t>
            </a:r>
          </a:p>
          <a:p>
            <a:pPr marL="0" indent="0">
              <a:spcAft>
                <a:spcPts val="0"/>
              </a:spcAft>
              <a:buNone/>
            </a:pPr>
            <a:endParaRPr lang="en-US" sz="1800" dirty="0" smtClean="0">
              <a:ea typeface="微软雅黑" pitchFamily="34" charset="-122"/>
            </a:endParaRPr>
          </a:p>
          <a:p>
            <a:pPr>
              <a:spcAft>
                <a:spcPts val="0"/>
              </a:spcAft>
            </a:pPr>
            <a:r>
              <a:rPr lang="en-US" sz="1800" dirty="0" smtClean="0">
                <a:ea typeface="微软雅黑" pitchFamily="34" charset="-122"/>
              </a:rPr>
              <a:t>Dr. Dr. (Doctor of Physics and Mathematics Sciences – highest scientific degree in Russia) National Research Nuclear University, former Moscow Physics and Engineering Institute,  2002</a:t>
            </a:r>
          </a:p>
        </p:txBody>
      </p:sp>
      <p:sp>
        <p:nvSpPr>
          <p:cNvPr id="3" name="Rectangle 2"/>
          <p:cNvSpPr txBox="1">
            <a:spLocks noChangeArrowheads="1"/>
          </p:cNvSpPr>
          <p:nvPr/>
        </p:nvSpPr>
        <p:spPr>
          <a:xfrm>
            <a:off x="179512" y="227038"/>
            <a:ext cx="8425492" cy="544512"/>
          </a:xfrm>
          <a:prstGeom prst="rect">
            <a:avLst/>
          </a:prstGeom>
        </p:spPr>
        <p:txBody>
          <a:bodyPr/>
          <a:lst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a:lstStyle>
          <a:p>
            <a:r>
              <a:rPr lang="en-US" sz="2400" dirty="0" smtClean="0">
                <a:solidFill>
                  <a:schemeClr val="accent1"/>
                </a:solidFill>
                <a:latin typeface="+mn-lt"/>
              </a:rPr>
              <a:t>Education</a:t>
            </a:r>
            <a:endParaRPr lang="en-US" sz="2400" dirty="0">
              <a:solidFill>
                <a:schemeClr val="accent1"/>
              </a:solidFill>
              <a:latin typeface="+mn-lt"/>
            </a:endParaRPr>
          </a:p>
        </p:txBody>
      </p:sp>
    </p:spTree>
    <p:extLst>
      <p:ext uri="{BB962C8B-B14F-4D97-AF65-F5344CB8AC3E}">
        <p14:creationId xmlns:p14="http://schemas.microsoft.com/office/powerpoint/2010/main" val="1412598699"/>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179512" y="1131590"/>
            <a:ext cx="8348193" cy="1872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marL="265113" indent="-265113" eaLnBrk="1" hangingPunct="1">
              <a:spcAft>
                <a:spcPts val="0"/>
              </a:spcAft>
              <a:buClr>
                <a:srgbClr val="F28E00"/>
              </a:buClr>
              <a:buFont typeface="Arial Black" pitchFamily="34" charset="0"/>
              <a:buChar char="&gt;"/>
              <a:defRPr sz="1800">
                <a:latin typeface="+mn-lt"/>
                <a:ea typeface="微软雅黑" pitchFamily="34" charset="-122"/>
                <a:cs typeface="+mn-cs"/>
              </a:defRPr>
            </a:lvl1pPr>
            <a:lvl2pPr marL="628650" indent="-184150" eaLnBrk="1" hangingPunct="1">
              <a:spcAft>
                <a:spcPct val="50000"/>
              </a:spcAft>
              <a:buClr>
                <a:schemeClr val="bg2"/>
              </a:buClr>
              <a:buFont typeface="Wingdings" pitchFamily="2" charset="2"/>
              <a:buChar char="§"/>
              <a:defRPr sz="1600">
                <a:latin typeface="+mn-lt"/>
              </a:defRPr>
            </a:lvl2pPr>
            <a:lvl3pPr marL="1236663" indent="-228600" eaLnBrk="1" hangingPunct="1">
              <a:buClr>
                <a:srgbClr val="FF9900"/>
              </a:buClr>
              <a:buFont typeface="Arial Black" pitchFamily="34" charset="0"/>
              <a:defRPr sz="1200">
                <a:latin typeface="+mn-lt"/>
              </a:defRPr>
            </a:lvl3pPr>
            <a:lvl4pPr marL="1644650" indent="-228600" eaLnBrk="1" hangingPunct="1">
              <a:buFont typeface="Wingdings" pitchFamily="2" charset="2"/>
              <a:buChar char="§"/>
              <a:defRPr sz="1400">
                <a:latin typeface="+mn-lt"/>
              </a:defRPr>
            </a:lvl4pPr>
            <a:lvl5pPr marL="2057400" indent="-228600" eaLnBrk="1" hangingPunct="1">
              <a:spcBef>
                <a:spcPct val="20000"/>
              </a:spcBef>
              <a:defRPr sz="2000">
                <a:latin typeface="+mn-lt"/>
              </a:defRPr>
            </a:lvl5pPr>
            <a:lvl6pPr marL="2514600" indent="-228600" fontAlgn="base">
              <a:spcBef>
                <a:spcPct val="20000"/>
              </a:spcBef>
              <a:spcAft>
                <a:spcPct val="0"/>
              </a:spcAft>
              <a:defRPr sz="2000">
                <a:latin typeface="+mn-lt"/>
              </a:defRPr>
            </a:lvl6pPr>
            <a:lvl7pPr marL="2971800" indent="-228600" fontAlgn="base">
              <a:spcBef>
                <a:spcPct val="20000"/>
              </a:spcBef>
              <a:spcAft>
                <a:spcPct val="0"/>
              </a:spcAft>
              <a:defRPr sz="2000">
                <a:latin typeface="+mn-lt"/>
              </a:defRPr>
            </a:lvl7pPr>
            <a:lvl8pPr marL="3429000" indent="-228600" fontAlgn="base">
              <a:spcBef>
                <a:spcPct val="20000"/>
              </a:spcBef>
              <a:spcAft>
                <a:spcPct val="0"/>
              </a:spcAft>
              <a:defRPr sz="2000">
                <a:latin typeface="+mn-lt"/>
              </a:defRPr>
            </a:lvl8pPr>
            <a:lvl9pPr marL="3886200" indent="-228600" fontAlgn="base">
              <a:spcBef>
                <a:spcPct val="20000"/>
              </a:spcBef>
              <a:spcAft>
                <a:spcPct val="0"/>
              </a:spcAft>
              <a:defRPr sz="2000">
                <a:latin typeface="+mn-lt"/>
              </a:defRPr>
            </a:lvl9pPr>
          </a:lstStyle>
          <a:p>
            <a:r>
              <a:rPr lang="en-US" altLang="zh-CN" dirty="0"/>
              <a:t>Professor of the National Research Nuclear </a:t>
            </a:r>
            <a:r>
              <a:rPr lang="en-US" altLang="zh-CN" dirty="0" smtClean="0"/>
              <a:t>University  (Moscow </a:t>
            </a:r>
            <a:r>
              <a:rPr lang="en-US" altLang="zh-CN" dirty="0"/>
              <a:t>Physics and Engineering </a:t>
            </a:r>
            <a:r>
              <a:rPr lang="en-US" altLang="zh-CN" dirty="0" smtClean="0"/>
              <a:t>Institute);</a:t>
            </a:r>
            <a:endParaRPr lang="en-US" altLang="zh-CN" dirty="0"/>
          </a:p>
          <a:p>
            <a:r>
              <a:rPr lang="en-US" altLang="zh-CN" dirty="0" smtClean="0"/>
              <a:t>Invited </a:t>
            </a:r>
            <a:r>
              <a:rPr lang="en-US" altLang="zh-CN" dirty="0"/>
              <a:t>Professor of Paris University VI, Paris, </a:t>
            </a:r>
            <a:r>
              <a:rPr lang="en-US" altLang="zh-CN" dirty="0" smtClean="0"/>
              <a:t>France;</a:t>
            </a:r>
          </a:p>
          <a:p>
            <a:r>
              <a:rPr lang="en-US" altLang="zh-CN" dirty="0" smtClean="0"/>
              <a:t>Professor </a:t>
            </a:r>
            <a:r>
              <a:rPr lang="en-US" altLang="zh-CN" dirty="0"/>
              <a:t>of the Maryland University, </a:t>
            </a:r>
            <a:r>
              <a:rPr lang="en-US" altLang="zh-CN" dirty="0" smtClean="0"/>
              <a:t>USA;</a:t>
            </a:r>
          </a:p>
          <a:p>
            <a:r>
              <a:rPr lang="en-US" altLang="zh-CN" dirty="0" smtClean="0"/>
              <a:t>Professor of Immanuel Kant Federal Baltic University, Kaliningrad, Russia</a:t>
            </a:r>
            <a:r>
              <a:rPr lang="en-US" altLang="zh-CN" dirty="0"/>
              <a:t>;</a:t>
            </a:r>
            <a:r>
              <a:rPr lang="en-US" altLang="zh-CN" dirty="0" smtClean="0"/>
              <a:t> </a:t>
            </a:r>
          </a:p>
          <a:p>
            <a:pPr marL="0" indent="0">
              <a:buNone/>
            </a:pPr>
            <a:r>
              <a:rPr lang="en-US" altLang="zh-CN" sz="1400" dirty="0" smtClean="0"/>
              <a:t>  </a:t>
            </a:r>
            <a:endParaRPr lang="en-US" altLang="zh-CN" sz="1400" dirty="0"/>
          </a:p>
          <a:p>
            <a:r>
              <a:rPr lang="en-US" altLang="zh-CN" dirty="0" smtClean="0"/>
              <a:t>Professor of </a:t>
            </a:r>
            <a:r>
              <a:rPr lang="en-US" altLang="zh-CN" dirty="0" err="1" smtClean="0"/>
              <a:t>Huazhong</a:t>
            </a:r>
            <a:r>
              <a:rPr lang="en-US" altLang="zh-CN" dirty="0" smtClean="0"/>
              <a:t> University of Science and Technology, Wuhan, China;</a:t>
            </a:r>
          </a:p>
        </p:txBody>
      </p:sp>
      <p:sp>
        <p:nvSpPr>
          <p:cNvPr id="3" name="Rectangle 2"/>
          <p:cNvSpPr txBox="1">
            <a:spLocks noChangeArrowheads="1"/>
          </p:cNvSpPr>
          <p:nvPr/>
        </p:nvSpPr>
        <p:spPr>
          <a:xfrm>
            <a:off x="205136" y="227038"/>
            <a:ext cx="8903368" cy="544512"/>
          </a:xfrm>
          <a:prstGeom prst="rect">
            <a:avLst/>
          </a:prstGeom>
        </p:spPr>
        <p:txBody>
          <a:bodyPr/>
          <a:lst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a:lstStyle>
          <a:p>
            <a:r>
              <a:rPr lang="en-US" sz="2400" dirty="0" smtClean="0">
                <a:solidFill>
                  <a:schemeClr val="accent1"/>
                </a:solidFill>
                <a:latin typeface="+mn-lt"/>
              </a:rPr>
              <a:t>Academic Achievements </a:t>
            </a:r>
            <a:endParaRPr lang="en-US" sz="2400" dirty="0">
              <a:solidFill>
                <a:schemeClr val="accent1"/>
              </a:solidFill>
              <a:latin typeface="+mn-lt"/>
            </a:endParaRPr>
          </a:p>
        </p:txBody>
      </p:sp>
    </p:spTree>
    <p:extLst>
      <p:ext uri="{BB962C8B-B14F-4D97-AF65-F5344CB8AC3E}">
        <p14:creationId xmlns:p14="http://schemas.microsoft.com/office/powerpoint/2010/main" val="2523967659"/>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165711" y="1059582"/>
            <a:ext cx="8959753" cy="25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marL="265113" indent="-265113" eaLnBrk="1" hangingPunct="1">
              <a:spcAft>
                <a:spcPts val="0"/>
              </a:spcAft>
              <a:buClr>
                <a:srgbClr val="F28E00"/>
              </a:buClr>
              <a:buFont typeface="Arial Black" pitchFamily="34" charset="0"/>
              <a:buChar char="&gt;"/>
              <a:defRPr sz="1800">
                <a:latin typeface="+mn-lt"/>
                <a:ea typeface="微软雅黑" pitchFamily="34" charset="-122"/>
                <a:cs typeface="+mn-cs"/>
              </a:defRPr>
            </a:lvl1pPr>
            <a:lvl2pPr marL="628650" indent="-184150" eaLnBrk="1" hangingPunct="1">
              <a:spcAft>
                <a:spcPct val="50000"/>
              </a:spcAft>
              <a:buClr>
                <a:schemeClr val="bg2"/>
              </a:buClr>
              <a:buFont typeface="Wingdings" pitchFamily="2" charset="2"/>
              <a:buChar char="§"/>
              <a:defRPr sz="1600">
                <a:latin typeface="+mn-lt"/>
              </a:defRPr>
            </a:lvl2pPr>
            <a:lvl3pPr marL="1236663" indent="-228600" eaLnBrk="1" hangingPunct="1">
              <a:buClr>
                <a:srgbClr val="FF9900"/>
              </a:buClr>
              <a:buFont typeface="Arial Black" pitchFamily="34" charset="0"/>
              <a:defRPr sz="1200">
                <a:latin typeface="+mn-lt"/>
              </a:defRPr>
            </a:lvl3pPr>
            <a:lvl4pPr marL="1644650" indent="-228600" eaLnBrk="1" hangingPunct="1">
              <a:buFont typeface="Wingdings" pitchFamily="2" charset="2"/>
              <a:buChar char="§"/>
              <a:defRPr sz="1400">
                <a:latin typeface="+mn-lt"/>
              </a:defRPr>
            </a:lvl4pPr>
            <a:lvl5pPr marL="2057400" indent="-228600" eaLnBrk="1" hangingPunct="1">
              <a:spcBef>
                <a:spcPct val="20000"/>
              </a:spcBef>
              <a:defRPr sz="2000">
                <a:latin typeface="+mn-lt"/>
              </a:defRPr>
            </a:lvl5pPr>
            <a:lvl6pPr marL="2514600" indent="-228600" fontAlgn="base">
              <a:spcBef>
                <a:spcPct val="20000"/>
              </a:spcBef>
              <a:spcAft>
                <a:spcPct val="0"/>
              </a:spcAft>
              <a:defRPr sz="2000">
                <a:latin typeface="+mn-lt"/>
              </a:defRPr>
            </a:lvl6pPr>
            <a:lvl7pPr marL="2971800" indent="-228600" fontAlgn="base">
              <a:spcBef>
                <a:spcPct val="20000"/>
              </a:spcBef>
              <a:spcAft>
                <a:spcPct val="0"/>
              </a:spcAft>
              <a:defRPr sz="2000">
                <a:latin typeface="+mn-lt"/>
              </a:defRPr>
            </a:lvl7pPr>
            <a:lvl8pPr marL="3429000" indent="-228600" fontAlgn="base">
              <a:spcBef>
                <a:spcPct val="20000"/>
              </a:spcBef>
              <a:spcAft>
                <a:spcPct val="0"/>
              </a:spcAft>
              <a:defRPr sz="2000">
                <a:latin typeface="+mn-lt"/>
              </a:defRPr>
            </a:lvl8pPr>
            <a:lvl9pPr marL="3886200" indent="-228600" fontAlgn="base">
              <a:spcBef>
                <a:spcPct val="20000"/>
              </a:spcBef>
              <a:spcAft>
                <a:spcPct val="0"/>
              </a:spcAft>
              <a:defRPr sz="2000">
                <a:latin typeface="+mn-lt"/>
              </a:defRPr>
            </a:lvl9pPr>
          </a:lstStyle>
          <a:p>
            <a:pPr>
              <a:lnSpc>
                <a:spcPts val="1800"/>
              </a:lnSpc>
            </a:pPr>
            <a:r>
              <a:rPr lang="en-US" dirty="0"/>
              <a:t>More than </a:t>
            </a:r>
            <a:r>
              <a:rPr lang="en-US" dirty="0" smtClean="0"/>
              <a:t>500 </a:t>
            </a:r>
            <a:r>
              <a:rPr lang="en-US" dirty="0"/>
              <a:t>publications in </a:t>
            </a:r>
            <a:r>
              <a:rPr lang="en-US" dirty="0" smtClean="0"/>
              <a:t>Reference </a:t>
            </a:r>
            <a:r>
              <a:rPr lang="en-US" dirty="0"/>
              <a:t>Scientific </a:t>
            </a:r>
            <a:r>
              <a:rPr lang="en-US" dirty="0" smtClean="0"/>
              <a:t>Journals</a:t>
            </a:r>
            <a:r>
              <a:rPr lang="zh-CN" altLang="en-US" sz="1400" dirty="0" smtClean="0"/>
              <a:t>   </a:t>
            </a:r>
            <a:endParaRPr lang="en-US" sz="1400" dirty="0"/>
          </a:p>
          <a:p>
            <a:pPr>
              <a:lnSpc>
                <a:spcPts val="1800"/>
              </a:lnSpc>
            </a:pPr>
            <a:endParaRPr lang="en-US" dirty="0" smtClean="0"/>
          </a:p>
          <a:p>
            <a:pPr>
              <a:lnSpc>
                <a:spcPts val="1800"/>
              </a:lnSpc>
            </a:pPr>
            <a:r>
              <a:rPr lang="en-US" dirty="0" smtClean="0"/>
              <a:t>Web </a:t>
            </a:r>
            <a:r>
              <a:rPr lang="en-US" dirty="0"/>
              <a:t>of Sciences: </a:t>
            </a:r>
            <a:r>
              <a:rPr lang="en-US" dirty="0" smtClean="0"/>
              <a:t>292 </a:t>
            </a:r>
            <a:r>
              <a:rPr lang="en-US" dirty="0"/>
              <a:t>publications</a:t>
            </a:r>
            <a:r>
              <a:rPr lang="en-US" dirty="0" smtClean="0"/>
              <a:t>, </a:t>
            </a:r>
            <a:r>
              <a:rPr lang="en-US" altLang="zh-CN" dirty="0" smtClean="0">
                <a:solidFill>
                  <a:srgbClr val="FF0000"/>
                </a:solidFill>
              </a:rPr>
              <a:t>H-index 39</a:t>
            </a:r>
          </a:p>
          <a:p>
            <a:pPr marL="0" indent="0">
              <a:lnSpc>
                <a:spcPts val="1800"/>
              </a:lnSpc>
              <a:buNone/>
            </a:pPr>
            <a:endParaRPr lang="en-US" sz="1400" dirty="0"/>
          </a:p>
          <a:p>
            <a:pPr>
              <a:lnSpc>
                <a:spcPts val="1800"/>
              </a:lnSpc>
            </a:pPr>
            <a:r>
              <a:rPr lang="en-US" dirty="0"/>
              <a:t>3 Monographs: Monograph Chapter:  open access has more th</a:t>
            </a:r>
            <a:r>
              <a:rPr lang="en-US" altLang="zh-CN" dirty="0"/>
              <a:t>a</a:t>
            </a:r>
            <a:r>
              <a:rPr lang="en-US" dirty="0"/>
              <a:t>n </a:t>
            </a:r>
            <a:r>
              <a:rPr lang="en-US" dirty="0" smtClean="0">
                <a:solidFill>
                  <a:srgbClr val="FF0000"/>
                </a:solidFill>
              </a:rPr>
              <a:t>5000 downloads</a:t>
            </a:r>
            <a:r>
              <a:rPr lang="en-US" sz="1400" dirty="0" smtClean="0">
                <a:solidFill>
                  <a:srgbClr val="FF0000"/>
                </a:solidFill>
              </a:rPr>
              <a:t>  </a:t>
            </a:r>
            <a:endParaRPr lang="en-US" sz="1400" dirty="0">
              <a:solidFill>
                <a:srgbClr val="FF0000"/>
              </a:solidFill>
            </a:endParaRPr>
          </a:p>
          <a:p>
            <a:pPr>
              <a:lnSpc>
                <a:spcPts val="1800"/>
              </a:lnSpc>
            </a:pPr>
            <a:endParaRPr lang="en-US" dirty="0"/>
          </a:p>
          <a:p>
            <a:pPr>
              <a:lnSpc>
                <a:spcPts val="1800"/>
              </a:lnSpc>
            </a:pPr>
            <a:r>
              <a:rPr lang="en-US" dirty="0"/>
              <a:t>8 patents: 3 US patents 2009-</a:t>
            </a:r>
            <a:r>
              <a:rPr lang="en-US" dirty="0" smtClean="0"/>
              <a:t>2012;</a:t>
            </a:r>
          </a:p>
          <a:p>
            <a:pPr marL="0" indent="0">
              <a:lnSpc>
                <a:spcPts val="1800"/>
              </a:lnSpc>
              <a:buNone/>
            </a:pPr>
            <a:r>
              <a:rPr lang="zh-CN" altLang="en-US" sz="1400" dirty="0" smtClean="0"/>
              <a:t>    </a:t>
            </a:r>
            <a:endParaRPr lang="en-US" dirty="0"/>
          </a:p>
          <a:p>
            <a:pPr>
              <a:lnSpc>
                <a:spcPts val="1800"/>
              </a:lnSpc>
            </a:pPr>
            <a:r>
              <a:rPr lang="en-US" dirty="0"/>
              <a:t>More then 30 invited and oral talks on the most famous International Conferences (number of Participants &gt; 500) : IEEE, NDIP, SPIE and others </a:t>
            </a:r>
            <a:endParaRPr lang="en-US" dirty="0" smtClean="0"/>
          </a:p>
          <a:p>
            <a:pPr marL="0" indent="0">
              <a:lnSpc>
                <a:spcPts val="1800"/>
              </a:lnSpc>
              <a:buNone/>
            </a:pPr>
            <a:r>
              <a:rPr lang="en-US" altLang="zh-CN" dirty="0" smtClean="0"/>
              <a:t>    </a:t>
            </a:r>
            <a:endParaRPr lang="en-US" dirty="0"/>
          </a:p>
        </p:txBody>
      </p:sp>
      <p:sp>
        <p:nvSpPr>
          <p:cNvPr id="3" name="Rectangle 2"/>
          <p:cNvSpPr txBox="1">
            <a:spLocks noChangeArrowheads="1"/>
          </p:cNvSpPr>
          <p:nvPr/>
        </p:nvSpPr>
        <p:spPr>
          <a:xfrm>
            <a:off x="179512" y="195486"/>
            <a:ext cx="8353484" cy="544512"/>
          </a:xfrm>
          <a:prstGeom prst="rect">
            <a:avLst/>
          </a:prstGeom>
        </p:spPr>
        <p:txBody>
          <a:bodyPr/>
          <a:lstStyle>
            <a:lvl1pPr algn="l" defTabSz="457200" rtl="0" eaLnBrk="1" fontAlgn="base" hangingPunct="1">
              <a:spcBef>
                <a:spcPct val="0"/>
              </a:spcBef>
              <a:spcAft>
                <a:spcPct val="0"/>
              </a:spcAft>
              <a:defRPr sz="3500" b="0" kern="1200">
                <a:solidFill>
                  <a:srgbClr val="569BBE"/>
                </a:solidFill>
                <a:latin typeface="微软雅黑" pitchFamily="34" charset="-122"/>
                <a:ea typeface="微软雅黑" pitchFamily="34" charset="-122"/>
                <a:cs typeface="Arial"/>
              </a:defRPr>
            </a:lvl1pPr>
            <a:lvl2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4400">
                <a:solidFill>
                  <a:schemeClr val="tx1"/>
                </a:solidFill>
                <a:latin typeface="Arial"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accent1"/>
                </a:solidFill>
                <a:latin typeface="Calibri" charset="0"/>
                <a:ea typeface="ＭＳ Ｐゴシック" charset="-128"/>
                <a:cs typeface="ＭＳ Ｐゴシック" charset="-128"/>
              </a:defRPr>
            </a:lvl9pPr>
          </a:lstStyle>
          <a:p>
            <a:r>
              <a:rPr lang="en-US" sz="2400" dirty="0" smtClean="0">
                <a:solidFill>
                  <a:schemeClr val="accent1"/>
                </a:solidFill>
              </a:rPr>
              <a:t>Publication Activity</a:t>
            </a:r>
            <a:endParaRPr lang="en-US" sz="2400" dirty="0">
              <a:solidFill>
                <a:schemeClr val="accent1"/>
              </a:solidFill>
            </a:endParaRPr>
          </a:p>
        </p:txBody>
      </p:sp>
    </p:spTree>
    <p:extLst>
      <p:ext uri="{BB962C8B-B14F-4D97-AF65-F5344CB8AC3E}">
        <p14:creationId xmlns:p14="http://schemas.microsoft.com/office/powerpoint/2010/main" val="2847119935"/>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323528" y="3363838"/>
            <a:ext cx="8496944" cy="864096"/>
          </a:xfrm>
          <a:prstGeom prst="rect">
            <a:avLst/>
          </a:prstGeom>
        </p:spPr>
        <p:txBody>
          <a:bodyPr/>
          <a:lstStyle>
            <a:defPPr>
              <a:defRPr lang="en-US"/>
            </a:defPPr>
            <a:lvl1pPr eaLnBrk="1" hangingPunct="1">
              <a:defRPr sz="2800" b="0">
                <a:solidFill>
                  <a:schemeClr val="accent1"/>
                </a:solidFill>
                <a:latin typeface="微软雅黑" pitchFamily="34" charset="-122"/>
                <a:ea typeface="微软雅黑" pitchFamily="34" charset="-122"/>
                <a:cs typeface="Arial"/>
              </a:defRPr>
            </a:lvl1pPr>
            <a:lvl2pPr eaLnBrk="1" hangingPunct="1">
              <a:defRPr sz="4400"/>
            </a:lvl2pPr>
            <a:lvl3pPr eaLnBrk="1" hangingPunct="1">
              <a:defRPr sz="4400"/>
            </a:lvl3pPr>
            <a:lvl4pPr eaLnBrk="1" hangingPunct="1">
              <a:defRPr sz="4400"/>
            </a:lvl4pPr>
            <a:lvl5pPr eaLnBrk="1" hangingPunct="1">
              <a:defRPr sz="4400"/>
            </a:lvl5pPr>
            <a:lvl6pPr marL="457200" algn="ctr" fontAlgn="base">
              <a:spcBef>
                <a:spcPct val="0"/>
              </a:spcBef>
              <a:spcAft>
                <a:spcPct val="0"/>
              </a:spcAft>
              <a:defRPr sz="4400">
                <a:solidFill>
                  <a:schemeClr val="accent1"/>
                </a:solidFill>
                <a:latin typeface="Calibri" charset="0"/>
              </a:defRPr>
            </a:lvl6pPr>
            <a:lvl7pPr marL="914400" algn="ctr" fontAlgn="base">
              <a:spcBef>
                <a:spcPct val="0"/>
              </a:spcBef>
              <a:spcAft>
                <a:spcPct val="0"/>
              </a:spcAft>
              <a:defRPr sz="4400">
                <a:solidFill>
                  <a:schemeClr val="accent1"/>
                </a:solidFill>
                <a:latin typeface="Calibri" charset="0"/>
              </a:defRPr>
            </a:lvl7pPr>
            <a:lvl8pPr marL="1371600" algn="ctr" fontAlgn="base">
              <a:spcBef>
                <a:spcPct val="0"/>
              </a:spcBef>
              <a:spcAft>
                <a:spcPct val="0"/>
              </a:spcAft>
              <a:defRPr sz="4400">
                <a:solidFill>
                  <a:schemeClr val="accent1"/>
                </a:solidFill>
                <a:latin typeface="Calibri" charset="0"/>
              </a:defRPr>
            </a:lvl8pPr>
            <a:lvl9pPr marL="1828800" algn="ctr" fontAlgn="base">
              <a:spcBef>
                <a:spcPct val="0"/>
              </a:spcBef>
              <a:spcAft>
                <a:spcPct val="0"/>
              </a:spcAft>
              <a:defRPr sz="4400">
                <a:solidFill>
                  <a:schemeClr val="accent1"/>
                </a:solidFill>
                <a:latin typeface="Calibri" charset="0"/>
              </a:defRPr>
            </a:lvl9pPr>
          </a:lstStyle>
          <a:p>
            <a:r>
              <a:rPr lang="en-US" sz="2400" dirty="0"/>
              <a:t>F</a:t>
            </a:r>
            <a:r>
              <a:rPr lang="en-US" sz="2400" dirty="0" smtClean="0"/>
              <a:t>undamental Study  </a:t>
            </a:r>
            <a:endParaRPr lang="en-US" sz="2400" dirty="0"/>
          </a:p>
        </p:txBody>
      </p:sp>
    </p:spTree>
    <p:extLst>
      <p:ext uri="{BB962C8B-B14F-4D97-AF65-F5344CB8AC3E}">
        <p14:creationId xmlns:p14="http://schemas.microsoft.com/office/powerpoint/2010/main" val="331323963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425015" y="699542"/>
            <a:ext cx="8348193"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5113" indent="-265113" algn="l" rtl="0" eaLnBrk="1" fontAlgn="base" hangingPunct="1">
              <a:spcBef>
                <a:spcPct val="0"/>
              </a:spcBef>
              <a:spcAft>
                <a:spcPct val="50000"/>
              </a:spcAft>
              <a:buClr>
                <a:srgbClr val="F28E00"/>
              </a:buClr>
              <a:buFont typeface="Arial Black" pitchFamily="34" charset="0"/>
              <a:buChar char="&gt;"/>
              <a:defRPr sz="2000">
                <a:solidFill>
                  <a:schemeClr val="tx1"/>
                </a:solidFill>
                <a:latin typeface="+mn-lt"/>
                <a:ea typeface="+mn-ea"/>
                <a:cs typeface="+mn-cs"/>
              </a:defRPr>
            </a:lvl1pPr>
            <a:lvl2pPr marL="628650" indent="-184150" algn="l" rtl="0" eaLnBrk="1" fontAlgn="base" hangingPunct="1">
              <a:spcBef>
                <a:spcPct val="0"/>
              </a:spcBef>
              <a:spcAft>
                <a:spcPct val="50000"/>
              </a:spcAft>
              <a:buClr>
                <a:schemeClr val="bg2"/>
              </a:buClr>
              <a:buFont typeface="Wingdings" pitchFamily="2" charset="2"/>
              <a:buChar char="§"/>
              <a:defRPr sz="1600">
                <a:solidFill>
                  <a:schemeClr val="tx1"/>
                </a:solidFill>
                <a:latin typeface="+mn-lt"/>
              </a:defRPr>
            </a:lvl2pPr>
            <a:lvl3pPr marL="1236663" indent="-228600" algn="l" rtl="0" eaLnBrk="1" fontAlgn="base" hangingPunct="1">
              <a:spcBef>
                <a:spcPct val="0"/>
              </a:spcBef>
              <a:spcAft>
                <a:spcPct val="0"/>
              </a:spcAft>
              <a:buClr>
                <a:srgbClr val="FF9900"/>
              </a:buClr>
              <a:buFont typeface="Arial Black" pitchFamily="34" charset="0"/>
              <a:defRPr sz="1200">
                <a:solidFill>
                  <a:schemeClr val="tx1"/>
                </a:solidFill>
                <a:latin typeface="+mn-lt"/>
              </a:defRPr>
            </a:lvl3pPr>
            <a:lvl4pPr marL="1644650" indent="-228600" algn="l" rtl="0" eaLnBrk="1" fontAlgn="base" hangingPunct="1">
              <a:spcBef>
                <a:spcPct val="0"/>
              </a:spcBef>
              <a:spcAft>
                <a:spcPct val="0"/>
              </a:spcAft>
              <a:buFont typeface="Wingdings" pitchFamily="2" charset="2"/>
              <a:buChar char="§"/>
              <a:defRPr sz="1400">
                <a:solidFill>
                  <a:schemeClr val="tx1"/>
                </a:solidFill>
                <a:latin typeface="+mn-lt"/>
              </a:defRPr>
            </a:lvl4pPr>
            <a:lvl5pPr marL="2057400" indent="-228600" algn="l" rtl="0" eaLnBrk="1" fontAlgn="base" hangingPunct="1">
              <a:spcBef>
                <a:spcPct val="20000"/>
              </a:spcBef>
              <a:spcAft>
                <a:spcPct val="0"/>
              </a:spcAft>
              <a:defRPr sz="2000">
                <a:solidFill>
                  <a:schemeClr val="tx1"/>
                </a:solidFill>
                <a:latin typeface="+mn-lt"/>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nSpc>
                <a:spcPct val="80000"/>
              </a:lnSpc>
              <a:buNone/>
            </a:pPr>
            <a:endParaRPr lang="en-US" sz="1800" dirty="0" smtClean="0"/>
          </a:p>
          <a:p>
            <a:pPr>
              <a:lnSpc>
                <a:spcPct val="80000"/>
              </a:lnSpc>
            </a:pPr>
            <a:r>
              <a:rPr lang="en-US" sz="1800" dirty="0" smtClean="0"/>
              <a:t>International Experiment Atlas, CERN, Swiss;</a:t>
            </a:r>
          </a:p>
          <a:p>
            <a:pPr>
              <a:lnSpc>
                <a:spcPct val="80000"/>
              </a:lnSpc>
            </a:pPr>
            <a:r>
              <a:rPr lang="en-US" sz="1800" dirty="0"/>
              <a:t>I</a:t>
            </a:r>
            <a:r>
              <a:rPr lang="en-US" sz="1800" dirty="0" smtClean="0"/>
              <a:t>nternational Experiment “HERA-B, DESY, Hamburg, Germany;</a:t>
            </a:r>
            <a:endParaRPr lang="en-US" sz="1800" dirty="0" smtClean="0">
              <a:latin typeface="微软雅黑" pitchFamily="34" charset="-122"/>
              <a:ea typeface="微软雅黑" pitchFamily="34" charset="-122"/>
            </a:endParaRPr>
          </a:p>
          <a:p>
            <a:pPr>
              <a:lnSpc>
                <a:spcPct val="80000"/>
              </a:lnSpc>
            </a:pPr>
            <a:r>
              <a:rPr lang="en-US" sz="1800" dirty="0" smtClean="0"/>
              <a:t>International Experiment “OPERA”, CERN-Gran </a:t>
            </a:r>
            <a:r>
              <a:rPr lang="en-US" sz="1800" dirty="0" err="1" smtClean="0"/>
              <a:t>Sasso</a:t>
            </a:r>
            <a:r>
              <a:rPr lang="en-US" sz="1800" dirty="0" smtClean="0"/>
              <a:t>, Italy;</a:t>
            </a:r>
          </a:p>
          <a:p>
            <a:pPr>
              <a:lnSpc>
                <a:spcPct val="80000"/>
              </a:lnSpc>
            </a:pPr>
            <a:r>
              <a:rPr lang="en-US" sz="1800" dirty="0" smtClean="0"/>
              <a:t>International Experiment “CDF”, National Fermi Accelerator Laboratory, Chicago, USA </a:t>
            </a:r>
          </a:p>
          <a:p>
            <a:pPr>
              <a:lnSpc>
                <a:spcPct val="80000"/>
              </a:lnSpc>
            </a:pPr>
            <a:r>
              <a:rPr lang="en-US" sz="1800" dirty="0" smtClean="0"/>
              <a:t>International World Wide Experiment “ILC- International Linear Collider”, more th</a:t>
            </a:r>
            <a:r>
              <a:rPr lang="en-US" altLang="zh-CN" sz="1800" dirty="0" smtClean="0"/>
              <a:t>a</a:t>
            </a:r>
            <a:r>
              <a:rPr lang="en-US" sz="1800" dirty="0" smtClean="0"/>
              <a:t>n 120 Institutes and Universities around the World; </a:t>
            </a:r>
          </a:p>
          <a:p>
            <a:pPr marL="0" indent="0">
              <a:lnSpc>
                <a:spcPct val="80000"/>
              </a:lnSpc>
              <a:buNone/>
            </a:pPr>
            <a:r>
              <a:rPr lang="zh-CN" altLang="en-US" sz="1800" dirty="0" smtClean="0"/>
              <a:t> </a:t>
            </a:r>
            <a:r>
              <a:rPr lang="zh-CN" altLang="en-US" sz="1800" dirty="0" smtClean="0">
                <a:latin typeface="微软雅黑" pitchFamily="34" charset="-122"/>
                <a:ea typeface="微软雅黑" pitchFamily="34" charset="-122"/>
              </a:rPr>
              <a:t> </a:t>
            </a:r>
            <a:endParaRPr lang="en-US" sz="1800" dirty="0" smtClean="0">
              <a:latin typeface="微软雅黑" pitchFamily="34" charset="-122"/>
              <a:ea typeface="微软雅黑" pitchFamily="34" charset="-122"/>
            </a:endParaRPr>
          </a:p>
        </p:txBody>
      </p:sp>
      <p:sp>
        <p:nvSpPr>
          <p:cNvPr id="3" name="Rectangle 2"/>
          <p:cNvSpPr txBox="1">
            <a:spLocks noChangeArrowheads="1"/>
          </p:cNvSpPr>
          <p:nvPr/>
        </p:nvSpPr>
        <p:spPr>
          <a:xfrm>
            <a:off x="323528" y="195486"/>
            <a:ext cx="8496944" cy="544512"/>
          </a:xfrm>
          <a:prstGeom prst="rect">
            <a:avLst/>
          </a:prstGeom>
        </p:spPr>
        <p:txBody>
          <a:bodyPr/>
          <a:lstStyle>
            <a:defPPr>
              <a:defRPr lang="en-US"/>
            </a:defPPr>
            <a:lvl1pPr eaLnBrk="1" hangingPunct="1">
              <a:defRPr sz="2800" b="0">
                <a:solidFill>
                  <a:schemeClr val="accent1"/>
                </a:solidFill>
                <a:latin typeface="微软雅黑" pitchFamily="34" charset="-122"/>
                <a:ea typeface="微软雅黑" pitchFamily="34" charset="-122"/>
                <a:cs typeface="Arial"/>
              </a:defRPr>
            </a:lvl1pPr>
            <a:lvl2pPr eaLnBrk="1" hangingPunct="1">
              <a:defRPr sz="4400"/>
            </a:lvl2pPr>
            <a:lvl3pPr eaLnBrk="1" hangingPunct="1">
              <a:defRPr sz="4400"/>
            </a:lvl3pPr>
            <a:lvl4pPr eaLnBrk="1" hangingPunct="1">
              <a:defRPr sz="4400"/>
            </a:lvl4pPr>
            <a:lvl5pPr eaLnBrk="1" hangingPunct="1">
              <a:defRPr sz="4400"/>
            </a:lvl5pPr>
            <a:lvl6pPr marL="457200" algn="ctr" fontAlgn="base">
              <a:spcBef>
                <a:spcPct val="0"/>
              </a:spcBef>
              <a:spcAft>
                <a:spcPct val="0"/>
              </a:spcAft>
              <a:defRPr sz="4400">
                <a:solidFill>
                  <a:schemeClr val="accent1"/>
                </a:solidFill>
                <a:latin typeface="Calibri" charset="0"/>
              </a:defRPr>
            </a:lvl6pPr>
            <a:lvl7pPr marL="914400" algn="ctr" fontAlgn="base">
              <a:spcBef>
                <a:spcPct val="0"/>
              </a:spcBef>
              <a:spcAft>
                <a:spcPct val="0"/>
              </a:spcAft>
              <a:defRPr sz="4400">
                <a:solidFill>
                  <a:schemeClr val="accent1"/>
                </a:solidFill>
                <a:latin typeface="Calibri" charset="0"/>
              </a:defRPr>
            </a:lvl7pPr>
            <a:lvl8pPr marL="1371600" algn="ctr" fontAlgn="base">
              <a:spcBef>
                <a:spcPct val="0"/>
              </a:spcBef>
              <a:spcAft>
                <a:spcPct val="0"/>
              </a:spcAft>
              <a:defRPr sz="4400">
                <a:solidFill>
                  <a:schemeClr val="accent1"/>
                </a:solidFill>
                <a:latin typeface="Calibri" charset="0"/>
              </a:defRPr>
            </a:lvl8pPr>
            <a:lvl9pPr marL="1828800" algn="ctr" fontAlgn="base">
              <a:spcBef>
                <a:spcPct val="0"/>
              </a:spcBef>
              <a:spcAft>
                <a:spcPct val="0"/>
              </a:spcAft>
              <a:defRPr sz="4400">
                <a:solidFill>
                  <a:schemeClr val="accent1"/>
                </a:solidFill>
                <a:latin typeface="Calibri" charset="0"/>
              </a:defRPr>
            </a:lvl9pPr>
          </a:lstStyle>
          <a:p>
            <a:r>
              <a:rPr lang="en-US" sz="2400" dirty="0" smtClean="0"/>
              <a:t>Experience in World Wide International </a:t>
            </a:r>
            <a:r>
              <a:rPr lang="en-US" sz="2400" dirty="0"/>
              <a:t>Collaborations </a:t>
            </a:r>
          </a:p>
        </p:txBody>
      </p:sp>
    </p:spTree>
    <p:extLst>
      <p:ext uri="{BB962C8B-B14F-4D97-AF65-F5344CB8AC3E}">
        <p14:creationId xmlns:p14="http://schemas.microsoft.com/office/powerpoint/2010/main" val="245681910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1" name="Picture 3" descr="aeri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771550"/>
            <a:ext cx="5688632" cy="3338980"/>
          </a:xfrm>
          <a:prstGeom prst="rect">
            <a:avLst/>
          </a:prstGeom>
          <a:noFill/>
          <a:extLst>
            <a:ext uri="{909E8E84-426E-40dd-AFC4-6F175D3DCCD1}">
              <a14:hiddenFill xmlns:a14="http://schemas.microsoft.com/office/drawing/2010/main">
                <a:solidFill>
                  <a:srgbClr val="FFFFFF"/>
                </a:solidFill>
              </a14:hiddenFill>
            </a:ext>
          </a:extLst>
        </p:spPr>
      </p:pic>
      <p:sp>
        <p:nvSpPr>
          <p:cNvPr id="73732" name="Text Box 4"/>
          <p:cNvSpPr txBox="1">
            <a:spLocks noChangeArrowheads="1"/>
          </p:cNvSpPr>
          <p:nvPr/>
        </p:nvSpPr>
        <p:spPr bwMode="auto">
          <a:xfrm>
            <a:off x="611560" y="4299942"/>
            <a:ext cx="8136904" cy="584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rgbClr val="000000"/>
                </a:solidFill>
                <a:latin typeface="Arial" charset="0"/>
                <a:ea typeface="ＭＳ Ｐゴシック" charset="0"/>
              </a:defRPr>
            </a:lvl1pPr>
            <a:lvl2pPr marL="457200">
              <a:defRPr sz="2000">
                <a:solidFill>
                  <a:srgbClr val="000000"/>
                </a:solidFill>
                <a:latin typeface="Arial" charset="0"/>
                <a:ea typeface="ＭＳ Ｐゴシック" charset="0"/>
              </a:defRPr>
            </a:lvl2pPr>
            <a:lvl3pPr marL="914400">
              <a:defRPr sz="2000">
                <a:solidFill>
                  <a:srgbClr val="000000"/>
                </a:solidFill>
                <a:latin typeface="Arial" charset="0"/>
                <a:ea typeface="ＭＳ Ｐゴシック" charset="0"/>
              </a:defRPr>
            </a:lvl3pPr>
            <a:lvl4pPr marL="1371600">
              <a:defRPr sz="2000">
                <a:solidFill>
                  <a:srgbClr val="000000"/>
                </a:solidFill>
                <a:latin typeface="Arial" charset="0"/>
                <a:ea typeface="ＭＳ Ｐゴシック" charset="0"/>
              </a:defRPr>
            </a:lvl4pPr>
            <a:lvl5pPr marL="1828800">
              <a:defRPr sz="2000">
                <a:solidFill>
                  <a:srgbClr val="000000"/>
                </a:solidFill>
                <a:latin typeface="Arial" charset="0"/>
                <a:ea typeface="ＭＳ Ｐゴシック" charset="0"/>
              </a:defRPr>
            </a:lvl5pPr>
            <a:lvl6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6pPr>
            <a:lvl7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7pPr>
            <a:lvl8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8pPr>
            <a:lvl9pPr algn="r" eaLnBrk="0" fontAlgn="base" hangingPunct="0">
              <a:spcBef>
                <a:spcPct val="0"/>
              </a:spcBef>
              <a:spcAft>
                <a:spcPct val="0"/>
              </a:spcAft>
              <a:buClr>
                <a:srgbClr val="000000"/>
              </a:buClr>
              <a:buSzPct val="100000"/>
              <a:buFont typeface="Times New Roman" charset="0"/>
              <a:defRPr sz="2000">
                <a:solidFill>
                  <a:srgbClr val="000000"/>
                </a:solidFill>
                <a:latin typeface="Arial" charset="0"/>
                <a:ea typeface="ＭＳ Ｐゴシック" charset="0"/>
              </a:defRPr>
            </a:lvl9pPr>
          </a:lstStyle>
          <a:p>
            <a:pPr algn="l" defTabSz="914400">
              <a:buClrTx/>
              <a:buSzTx/>
              <a:buFontTx/>
              <a:buNone/>
            </a:pPr>
            <a:r>
              <a:rPr lang="en-US" sz="1600" dirty="0" smtClean="0">
                <a:solidFill>
                  <a:schemeClr val="accent1">
                    <a:lumMod val="75000"/>
                  </a:schemeClr>
                </a:solidFill>
              </a:rPr>
              <a:t>Since 1992 - European </a:t>
            </a:r>
            <a:r>
              <a:rPr lang="en-US" sz="1600" dirty="0">
                <a:solidFill>
                  <a:schemeClr val="accent1">
                    <a:lumMod val="75000"/>
                  </a:schemeClr>
                </a:solidFill>
              </a:rPr>
              <a:t>Center of Nuclear </a:t>
            </a:r>
            <a:r>
              <a:rPr lang="en-US" sz="1600" dirty="0" smtClean="0">
                <a:solidFill>
                  <a:schemeClr val="accent1">
                    <a:lumMod val="75000"/>
                  </a:schemeClr>
                </a:solidFill>
              </a:rPr>
              <a:t>Research, experiment Atlas, Theory of the Transition Radiation, development of the Transition Radiation Detector.</a:t>
            </a:r>
            <a:endParaRPr lang="en-US" sz="1600" dirty="0">
              <a:solidFill>
                <a:schemeClr val="accent1">
                  <a:lumMod val="75000"/>
                </a:schemeClr>
              </a:solidFill>
            </a:endParaRPr>
          </a:p>
        </p:txBody>
      </p:sp>
      <p:sp>
        <p:nvSpPr>
          <p:cNvPr id="3" name="Title 2"/>
          <p:cNvSpPr>
            <a:spLocks noGrp="1"/>
          </p:cNvSpPr>
          <p:nvPr>
            <p:ph type="title" sz="quarter"/>
          </p:nvPr>
        </p:nvSpPr>
        <p:spPr>
          <a:xfrm>
            <a:off x="0" y="0"/>
            <a:ext cx="8316416" cy="848916"/>
          </a:xfrm>
        </p:spPr>
        <p:txBody>
          <a:bodyPr/>
          <a:lstStyle/>
          <a:p>
            <a:r>
              <a:rPr lang="en-US" sz="2400" dirty="0" smtClean="0"/>
              <a:t>Fundamental High </a:t>
            </a:r>
            <a:r>
              <a:rPr lang="en-US" sz="2400" dirty="0" smtClean="0"/>
              <a:t>Energy Physics</a:t>
            </a:r>
            <a:endParaRPr lang="en-US" sz="2400" dirty="0"/>
          </a:p>
        </p:txBody>
      </p:sp>
      <p:pic>
        <p:nvPicPr>
          <p:cNvPr id="5" name="Picture 3" descr="ux15_geneva_061012_14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184" y="1995686"/>
            <a:ext cx="2592288" cy="2120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280505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o_MlhArrUC8qoZFzvTY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lzoUt1AuUG3d8xCLkoA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lzoUt1AuUG3d8xCLkoA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f9Fc7JYNUSV2rAG8CSI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XgfozCt2EeHKuprByT7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huaxj9csUGM5zbqyEC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FXkE2KQV02Jsd7hKvJVYA"/>
</p:tagLst>
</file>

<file path=ppt/theme/theme1.xml><?xml version="1.0" encoding="utf-8"?>
<a:theme xmlns:a="http://schemas.openxmlformats.org/drawingml/2006/main" name="RAYCAN Template V1.0">
  <a:themeElements>
    <a:clrScheme name="RAYCAN">
      <a:dk1>
        <a:srgbClr val="666666"/>
      </a:dk1>
      <a:lt1>
        <a:srgbClr val="FFFFFF"/>
      </a:lt1>
      <a:dk2>
        <a:srgbClr val="B3B3B3"/>
      </a:dk2>
      <a:lt2>
        <a:srgbClr val="FFFFFF"/>
      </a:lt2>
      <a:accent1>
        <a:srgbClr val="0081C3"/>
      </a:accent1>
      <a:accent2>
        <a:srgbClr val="569BBE"/>
      </a:accent2>
      <a:accent3>
        <a:srgbClr val="62CAE3"/>
      </a:accent3>
      <a:accent4>
        <a:srgbClr val="92D050"/>
      </a:accent4>
      <a:accent5>
        <a:srgbClr val="FDB913"/>
      </a:accent5>
      <a:accent6>
        <a:srgbClr val="C00000"/>
      </a:accent6>
      <a:hlink>
        <a:srgbClr val="0081C3"/>
      </a:hlink>
      <a:folHlink>
        <a:srgbClr val="59595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封面页">
  <a:themeElements>
    <a:clrScheme name="RAYCAN">
      <a:dk1>
        <a:srgbClr val="666666"/>
      </a:dk1>
      <a:lt1>
        <a:srgbClr val="FFFFFF"/>
      </a:lt1>
      <a:dk2>
        <a:srgbClr val="B3B3B3"/>
      </a:dk2>
      <a:lt2>
        <a:srgbClr val="FFFFFF"/>
      </a:lt2>
      <a:accent1>
        <a:srgbClr val="0081C3"/>
      </a:accent1>
      <a:accent2>
        <a:srgbClr val="569BBE"/>
      </a:accent2>
      <a:accent3>
        <a:srgbClr val="62CAE3"/>
      </a:accent3>
      <a:accent4>
        <a:srgbClr val="92D050"/>
      </a:accent4>
      <a:accent5>
        <a:srgbClr val="FDB913"/>
      </a:accent5>
      <a:accent6>
        <a:srgbClr val="C00000"/>
      </a:accent6>
      <a:hlink>
        <a:srgbClr val="0081C3"/>
      </a:hlink>
      <a:folHlink>
        <a:srgbClr val="59595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封底页">
  <a:themeElements>
    <a:clrScheme name="RAYCAN">
      <a:dk1>
        <a:srgbClr val="666666"/>
      </a:dk1>
      <a:lt1>
        <a:srgbClr val="FFFFFF"/>
      </a:lt1>
      <a:dk2>
        <a:srgbClr val="B3B3B3"/>
      </a:dk2>
      <a:lt2>
        <a:srgbClr val="FFFFFF"/>
      </a:lt2>
      <a:accent1>
        <a:srgbClr val="0081C3"/>
      </a:accent1>
      <a:accent2>
        <a:srgbClr val="569BBE"/>
      </a:accent2>
      <a:accent3>
        <a:srgbClr val="62CAE3"/>
      </a:accent3>
      <a:accent4>
        <a:srgbClr val="92D050"/>
      </a:accent4>
      <a:accent5>
        <a:srgbClr val="FDB913"/>
      </a:accent5>
      <a:accent6>
        <a:srgbClr val="C00000"/>
      </a:accent6>
      <a:hlink>
        <a:srgbClr val="0081C3"/>
      </a:hlink>
      <a:folHlink>
        <a:srgbClr val="59595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AYCAN Template V1.0</Template>
  <TotalTime>4128</TotalTime>
  <Words>653</Words>
  <Application>Microsoft Macintosh PowerPoint</Application>
  <PresentationFormat>On-screen Show (16:9)</PresentationFormat>
  <Paragraphs>93</Paragraphs>
  <Slides>18</Slides>
  <Notes>4</Notes>
  <HiddenSlides>0</HiddenSlides>
  <MMClips>0</MMClips>
  <ScaleCrop>false</ScaleCrop>
  <HeadingPairs>
    <vt:vector size="4" baseType="variant">
      <vt:variant>
        <vt:lpstr>Theme</vt:lpstr>
      </vt:variant>
      <vt:variant>
        <vt:i4>3</vt:i4>
      </vt:variant>
      <vt:variant>
        <vt:lpstr>Slide Titles</vt:lpstr>
      </vt:variant>
      <vt:variant>
        <vt:i4>18</vt:i4>
      </vt:variant>
    </vt:vector>
  </HeadingPairs>
  <TitlesOfParts>
    <vt:vector size="21" baseType="lpstr">
      <vt:lpstr>RAYCAN Template V1.0</vt:lpstr>
      <vt:lpstr>封面页</vt:lpstr>
      <vt:lpstr>封底页</vt:lpstr>
      <vt:lpstr>FUNDAMENTAL STUDY </vt:lpstr>
      <vt:lpstr>FUNDAMENTAL STUDY to INNOVATION APPLICATION TECHNOLOGIES</vt:lpstr>
      <vt:lpstr>  </vt:lpstr>
      <vt:lpstr>PowerPoint Presentation</vt:lpstr>
      <vt:lpstr>PowerPoint Presentation</vt:lpstr>
      <vt:lpstr>PowerPoint Presentation</vt:lpstr>
      <vt:lpstr>PowerPoint Presentation</vt:lpstr>
      <vt:lpstr>PowerPoint Presentation</vt:lpstr>
      <vt:lpstr>Fundamental High Energy Physics</vt:lpstr>
      <vt:lpstr>Fundamental High Energy Physics </vt:lpstr>
      <vt:lpstr>PowerPoint Presentation</vt:lpstr>
      <vt:lpstr>PowerPoint Presentation</vt:lpstr>
      <vt:lpstr>Medical Visual Diagnostics System </vt:lpstr>
      <vt:lpstr>Medical Visual Diagnostic System - PET</vt:lpstr>
      <vt:lpstr>PowerPoint Presentation</vt:lpstr>
      <vt:lpstr>PowerPoint Presentation</vt:lpstr>
      <vt:lpstr>PowerPoint Presentation</vt:lpstr>
      <vt:lpstr>PowerPoint Presentation</vt:lpstr>
    </vt:vector>
  </TitlesOfParts>
  <Company>Sky123.O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用户</dc:creator>
  <cp:lastModifiedBy>Valeri Saveliev</cp:lastModifiedBy>
  <cp:revision>261</cp:revision>
  <dcterms:created xsi:type="dcterms:W3CDTF">2016-03-01T02:02:08Z</dcterms:created>
  <dcterms:modified xsi:type="dcterms:W3CDTF">2019-10-12T12:03:35Z</dcterms:modified>
</cp:coreProperties>
</file>